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1" r:id="rId1"/>
    <p:sldMasterId id="2147483833" r:id="rId2"/>
  </p:sldMasterIdLst>
  <p:sldIdLst>
    <p:sldId id="261" r:id="rId3"/>
    <p:sldId id="260" r:id="rId4"/>
    <p:sldId id="263" r:id="rId5"/>
    <p:sldId id="264" r:id="rId6"/>
    <p:sldId id="265" r:id="rId7"/>
    <p:sldId id="266" r:id="rId8"/>
    <p:sldId id="267" r:id="rId9"/>
    <p:sldId id="268" r:id="rId10"/>
    <p:sldId id="269" r:id="rId11"/>
    <p:sldId id="25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F2DF"/>
    <a:srgbClr val="4E5139"/>
    <a:srgbClr val="CBCEBA"/>
    <a:srgbClr val="F9F0D8"/>
    <a:srgbClr val="848B63"/>
    <a:srgbClr val="5E6246"/>
    <a:srgbClr val="6B7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33D87D-DA53-4A02-824A-5C98FE4A0F9F}" v="304" dt="2026-01-14T05:27:16.4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75" d="100"/>
          <a:sy n="75" d="100"/>
        </p:scale>
        <p:origin x="735" y="327"/>
      </p:cViewPr>
      <p:guideLst>
        <p:guide orient="horz" pos="9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spina Youssef" userId="1b64db5d-6257-4127-9ac2-b46596966bd0" providerId="ADAL" clId="{6C028FD6-4445-4B47-BA71-A3AE977DC91E}"/>
    <pc:docChg chg="undo custSel addSld delSld modSld modMainMaster">
      <pc:chgData name="Tespina Youssef" userId="1b64db5d-6257-4127-9ac2-b46596966bd0" providerId="ADAL" clId="{6C028FD6-4445-4B47-BA71-A3AE977DC91E}" dt="2026-01-14T05:28:58.092" v="2263" actId="465"/>
      <pc:docMkLst>
        <pc:docMk/>
      </pc:docMkLst>
      <pc:sldChg chg="addSp modSp mod">
        <pc:chgData name="Tespina Youssef" userId="1b64db5d-6257-4127-9ac2-b46596966bd0" providerId="ADAL" clId="{6C028FD6-4445-4B47-BA71-A3AE977DC91E}" dt="2026-01-10T07:06:28.786" v="2069"/>
        <pc:sldMkLst>
          <pc:docMk/>
          <pc:sldMk cId="1168594989" sldId="259"/>
        </pc:sldMkLst>
        <pc:spChg chg="add mod ord">
          <ac:chgData name="Tespina Youssef" userId="1b64db5d-6257-4127-9ac2-b46596966bd0" providerId="ADAL" clId="{6C028FD6-4445-4B47-BA71-A3AE977DC91E}" dt="2026-01-10T07:06:28.782" v="2055"/>
          <ac:spMkLst>
            <pc:docMk/>
            <pc:sldMk cId="1168594989" sldId="259"/>
            <ac:spMk id="2" creationId="{335177A3-21A0-C3C6-0B59-68224A8BBF28}"/>
          </ac:spMkLst>
        </pc:spChg>
        <pc:spChg chg="mod ord">
          <ac:chgData name="Tespina Youssef" userId="1b64db5d-6257-4127-9ac2-b46596966bd0" providerId="ADAL" clId="{6C028FD6-4445-4B47-BA71-A3AE977DC91E}" dt="2026-01-10T07:06:28.784" v="2061"/>
          <ac:spMkLst>
            <pc:docMk/>
            <pc:sldMk cId="1168594989" sldId="259"/>
            <ac:spMk id="3" creationId="{72070395-BC2D-84E9-FCA5-045EAE884E74}"/>
          </ac:spMkLst>
        </pc:spChg>
        <pc:spChg chg="mod ord">
          <ac:chgData name="Tespina Youssef" userId="1b64db5d-6257-4127-9ac2-b46596966bd0" providerId="ADAL" clId="{6C028FD6-4445-4B47-BA71-A3AE977DC91E}" dt="2026-01-10T07:06:28.783" v="2059"/>
          <ac:spMkLst>
            <pc:docMk/>
            <pc:sldMk cId="1168594989" sldId="259"/>
            <ac:spMk id="7" creationId="{407B598D-7770-4F6A-F4AB-B6955080CC73}"/>
          </ac:spMkLst>
        </pc:spChg>
        <pc:spChg chg="mod ord">
          <ac:chgData name="Tespina Youssef" userId="1b64db5d-6257-4127-9ac2-b46596966bd0" providerId="ADAL" clId="{6C028FD6-4445-4B47-BA71-A3AE977DC91E}" dt="2026-01-10T07:06:28.784" v="2063"/>
          <ac:spMkLst>
            <pc:docMk/>
            <pc:sldMk cId="1168594989" sldId="259"/>
            <ac:spMk id="10" creationId="{D167C971-A3E1-727A-8B7C-77591038AE48}"/>
          </ac:spMkLst>
        </pc:spChg>
        <pc:graphicFrameChg chg="add mod ord modVis">
          <ac:chgData name="Tespina Youssef" userId="1b64db5d-6257-4127-9ac2-b46596966bd0" providerId="ADAL" clId="{6C028FD6-4445-4B47-BA71-A3AE977DC91E}" dt="2026-01-10T07:06:28.786" v="2069"/>
          <ac:graphicFrameMkLst>
            <pc:docMk/>
            <pc:sldMk cId="1168594989" sldId="259"/>
            <ac:graphicFrameMk id="4" creationId="{86E89102-B030-3D5F-444F-E6EB0F219DA0}"/>
          </ac:graphicFrameMkLst>
        </pc:graphicFrameChg>
        <pc:picChg chg="mod ord">
          <ac:chgData name="Tespina Youssef" userId="1b64db5d-6257-4127-9ac2-b46596966bd0" providerId="ADAL" clId="{6C028FD6-4445-4B47-BA71-A3AE977DC91E}" dt="2026-01-10T07:06:28.783" v="2057"/>
          <ac:picMkLst>
            <pc:docMk/>
            <pc:sldMk cId="1168594989" sldId="259"/>
            <ac:picMk id="5" creationId="{B6547E4E-1522-29A9-2602-CC3FF1F778E7}"/>
          </ac:picMkLst>
        </pc:picChg>
        <pc:picChg chg="mod ord">
          <ac:chgData name="Tespina Youssef" userId="1b64db5d-6257-4127-9ac2-b46596966bd0" providerId="ADAL" clId="{6C028FD6-4445-4B47-BA71-A3AE977DC91E}" dt="2026-01-10T07:06:28.781" v="2053"/>
          <ac:picMkLst>
            <pc:docMk/>
            <pc:sldMk cId="1168594989" sldId="259"/>
            <ac:picMk id="9" creationId="{239B0A6B-778F-C128-5F85-A4DB60F42529}"/>
          </ac:picMkLst>
        </pc:picChg>
        <pc:picChg chg="mod ord">
          <ac:chgData name="Tespina Youssef" userId="1b64db5d-6257-4127-9ac2-b46596966bd0" providerId="ADAL" clId="{6C028FD6-4445-4B47-BA71-A3AE977DC91E}" dt="2026-01-10T07:06:28.784" v="2065"/>
          <ac:picMkLst>
            <pc:docMk/>
            <pc:sldMk cId="1168594989" sldId="259"/>
            <ac:picMk id="12" creationId="{671528DB-E738-7790-5AAA-47346518E9DD}"/>
          </ac:picMkLst>
        </pc:picChg>
        <pc:picChg chg="mod ord">
          <ac:chgData name="Tespina Youssef" userId="1b64db5d-6257-4127-9ac2-b46596966bd0" providerId="ADAL" clId="{6C028FD6-4445-4B47-BA71-A3AE977DC91E}" dt="2026-01-10T07:06:28.785" v="2067"/>
          <ac:picMkLst>
            <pc:docMk/>
            <pc:sldMk cId="1168594989" sldId="259"/>
            <ac:picMk id="15" creationId="{567A3B67-4D6C-D0E3-4FE6-8A8D43E23310}"/>
          </ac:picMkLst>
        </pc:picChg>
      </pc:sldChg>
      <pc:sldChg chg="addSp delSp modSp mod">
        <pc:chgData name="Tespina Youssef" userId="1b64db5d-6257-4127-9ac2-b46596966bd0" providerId="ADAL" clId="{6C028FD6-4445-4B47-BA71-A3AE977DC91E}" dt="2026-01-08T16:38:22.399" v="491" actId="5793"/>
        <pc:sldMkLst>
          <pc:docMk/>
          <pc:sldMk cId="3522182314" sldId="260"/>
        </pc:sldMkLst>
        <pc:spChg chg="mod">
          <ac:chgData name="Tespina Youssef" userId="1b64db5d-6257-4127-9ac2-b46596966bd0" providerId="ADAL" clId="{6C028FD6-4445-4B47-BA71-A3AE977DC91E}" dt="2026-01-08T16:37:24.095" v="148" actId="948"/>
          <ac:spMkLst>
            <pc:docMk/>
            <pc:sldMk cId="3522182314" sldId="260"/>
            <ac:spMk id="2" creationId="{191B264F-C3D3-F3A0-4FF2-9A88B39864FF}"/>
          </ac:spMkLst>
        </pc:spChg>
        <pc:spChg chg="mod">
          <ac:chgData name="Tespina Youssef" userId="1b64db5d-6257-4127-9ac2-b46596966bd0" providerId="ADAL" clId="{6C028FD6-4445-4B47-BA71-A3AE977DC91E}" dt="2026-01-08T16:38:22.399" v="491" actId="5793"/>
          <ac:spMkLst>
            <pc:docMk/>
            <pc:sldMk cId="3522182314" sldId="260"/>
            <ac:spMk id="6" creationId="{AB9D05BD-5608-0664-8BD8-4F0DA86BA9CF}"/>
          </ac:spMkLst>
        </pc:spChg>
        <pc:graphicFrameChg chg="mod">
          <ac:chgData name="Tespina Youssef" userId="1b64db5d-6257-4127-9ac2-b46596966bd0" providerId="ADAL" clId="{6C028FD6-4445-4B47-BA71-A3AE977DC91E}" dt="2026-01-08T16:37:24.097" v="150"/>
          <ac:graphicFrameMkLst>
            <pc:docMk/>
            <pc:sldMk cId="3522182314" sldId="260"/>
            <ac:graphicFrameMk id="4" creationId="{C5FE273C-8E77-2A8B-6AB4-D152EDFE96A3}"/>
          </ac:graphicFrameMkLst>
        </pc:graphicFrameChg>
      </pc:sldChg>
      <pc:sldChg chg="addSp modSp mod">
        <pc:chgData name="Tespina Youssef" userId="1b64db5d-6257-4127-9ac2-b46596966bd0" providerId="ADAL" clId="{6C028FD6-4445-4B47-BA71-A3AE977DC91E}" dt="2026-01-10T07:06:10.825" v="2020"/>
        <pc:sldMkLst>
          <pc:docMk/>
          <pc:sldMk cId="3705452391" sldId="261"/>
        </pc:sldMkLst>
        <pc:spChg chg="add mod ord">
          <ac:chgData name="Tespina Youssef" userId="1b64db5d-6257-4127-9ac2-b46596966bd0" providerId="ADAL" clId="{6C028FD6-4445-4B47-BA71-A3AE977DC91E}" dt="2026-01-10T07:06:10.821" v="2006"/>
          <ac:spMkLst>
            <pc:docMk/>
            <pc:sldMk cId="3705452391" sldId="261"/>
            <ac:spMk id="2" creationId="{FC1151EA-F0A1-71AD-5CC8-4F5518DF5D21}"/>
          </ac:spMkLst>
        </pc:spChg>
        <pc:spChg chg="mod ord">
          <ac:chgData name="Tespina Youssef" userId="1b64db5d-6257-4127-9ac2-b46596966bd0" providerId="ADAL" clId="{6C028FD6-4445-4B47-BA71-A3AE977DC91E}" dt="2026-01-10T07:06:10.823" v="2010"/>
          <ac:spMkLst>
            <pc:docMk/>
            <pc:sldMk cId="3705452391" sldId="261"/>
            <ac:spMk id="4" creationId="{1A75DFF3-C8EB-E4DF-F045-3FF3D6332833}"/>
          </ac:spMkLst>
        </pc:spChg>
        <pc:spChg chg="mod ord">
          <ac:chgData name="Tespina Youssef" userId="1b64db5d-6257-4127-9ac2-b46596966bd0" providerId="ADAL" clId="{6C028FD6-4445-4B47-BA71-A3AE977DC91E}" dt="2026-01-10T07:06:10.824" v="2016"/>
          <ac:spMkLst>
            <pc:docMk/>
            <pc:sldMk cId="3705452391" sldId="261"/>
            <ac:spMk id="7" creationId="{15F85F7B-BFE0-85C6-DB46-FD12799C4D8D}"/>
          </ac:spMkLst>
        </pc:spChg>
        <pc:spChg chg="mod ord">
          <ac:chgData name="Tespina Youssef" userId="1b64db5d-6257-4127-9ac2-b46596966bd0" providerId="ADAL" clId="{6C028FD6-4445-4B47-BA71-A3AE977DC91E}" dt="2026-01-10T07:06:10.825" v="2018"/>
          <ac:spMkLst>
            <pc:docMk/>
            <pc:sldMk cId="3705452391" sldId="261"/>
            <ac:spMk id="8" creationId="{D6F1AA1D-ADD1-2E99-FE94-B04105C9047C}"/>
          </ac:spMkLst>
        </pc:spChg>
        <pc:graphicFrameChg chg="add mod ord modVis">
          <ac:chgData name="Tespina Youssef" userId="1b64db5d-6257-4127-9ac2-b46596966bd0" providerId="ADAL" clId="{6C028FD6-4445-4B47-BA71-A3AE977DC91E}" dt="2026-01-10T07:06:10.825" v="2020"/>
          <ac:graphicFrameMkLst>
            <pc:docMk/>
            <pc:sldMk cId="3705452391" sldId="261"/>
            <ac:graphicFrameMk id="3" creationId="{D1E54777-D755-8D77-DB0B-6CDB0EAAFCFF}"/>
          </ac:graphicFrameMkLst>
        </pc:graphicFrameChg>
        <pc:picChg chg="mod ord">
          <ac:chgData name="Tespina Youssef" userId="1b64db5d-6257-4127-9ac2-b46596966bd0" providerId="ADAL" clId="{6C028FD6-4445-4B47-BA71-A3AE977DC91E}" dt="2026-01-10T07:06:10.823" v="2012"/>
          <ac:picMkLst>
            <pc:docMk/>
            <pc:sldMk cId="3705452391" sldId="261"/>
            <ac:picMk id="5" creationId="{9A65BB8C-BAA7-B6BB-68B6-004692B2A8FB}"/>
          </ac:picMkLst>
        </pc:picChg>
        <pc:picChg chg="mod ord">
          <ac:chgData name="Tespina Youssef" userId="1b64db5d-6257-4127-9ac2-b46596966bd0" providerId="ADAL" clId="{6C028FD6-4445-4B47-BA71-A3AE977DC91E}" dt="2026-01-10T07:06:10.824" v="2014"/>
          <ac:picMkLst>
            <pc:docMk/>
            <pc:sldMk cId="3705452391" sldId="261"/>
            <ac:picMk id="6" creationId="{862D6FDD-615F-048D-D3B5-8894A2C27873}"/>
          </ac:picMkLst>
        </pc:picChg>
        <pc:picChg chg="mod ord">
          <ac:chgData name="Tespina Youssef" userId="1b64db5d-6257-4127-9ac2-b46596966bd0" providerId="ADAL" clId="{6C028FD6-4445-4B47-BA71-A3AE977DC91E}" dt="2026-01-10T07:06:10.820" v="2004"/>
          <ac:picMkLst>
            <pc:docMk/>
            <pc:sldMk cId="3705452391" sldId="261"/>
            <ac:picMk id="9" creationId="{5B734D55-21D0-A8A0-323F-D31A2DBE9ACA}"/>
          </ac:picMkLst>
        </pc:picChg>
        <pc:picChg chg="mod ord">
          <ac:chgData name="Tespina Youssef" userId="1b64db5d-6257-4127-9ac2-b46596966bd0" providerId="ADAL" clId="{6C028FD6-4445-4B47-BA71-A3AE977DC91E}" dt="2026-01-10T07:06:10.822" v="2008"/>
          <ac:picMkLst>
            <pc:docMk/>
            <pc:sldMk cId="3705452391" sldId="261"/>
            <ac:picMk id="11" creationId="{F9CB1ACF-DCAA-73FD-EB30-E03632C5FB4A}"/>
          </ac:picMkLst>
        </pc:picChg>
      </pc:sldChg>
      <pc:sldChg chg="addSp delSp modSp add mod">
        <pc:chgData name="Tespina Youssef" userId="1b64db5d-6257-4127-9ac2-b46596966bd0" providerId="ADAL" clId="{6C028FD6-4445-4B47-BA71-A3AE977DC91E}" dt="2026-01-08T16:57:55.225" v="1342" actId="20577"/>
        <pc:sldMkLst>
          <pc:docMk/>
          <pc:sldMk cId="3218707296" sldId="263"/>
        </pc:sldMkLst>
        <pc:spChg chg="mod">
          <ac:chgData name="Tespina Youssef" userId="1b64db5d-6257-4127-9ac2-b46596966bd0" providerId="ADAL" clId="{6C028FD6-4445-4B47-BA71-A3AE977DC91E}" dt="2026-01-08T16:38:30.688" v="529" actId="948"/>
          <ac:spMkLst>
            <pc:docMk/>
            <pc:sldMk cId="3218707296" sldId="263"/>
            <ac:spMk id="2" creationId="{7A54F0E4-74AD-12C3-0A50-76AD54D90A95}"/>
          </ac:spMkLst>
        </pc:spChg>
        <pc:spChg chg="mod">
          <ac:chgData name="Tespina Youssef" userId="1b64db5d-6257-4127-9ac2-b46596966bd0" providerId="ADAL" clId="{6C028FD6-4445-4B47-BA71-A3AE977DC91E}" dt="2026-01-08T16:57:55.225" v="1342" actId="20577"/>
          <ac:spMkLst>
            <pc:docMk/>
            <pc:sldMk cId="3218707296" sldId="263"/>
            <ac:spMk id="5" creationId="{73D1FAB0-21F4-3894-F74B-6B4201BC8EFC}"/>
          </ac:spMkLst>
        </pc:spChg>
        <pc:graphicFrameChg chg="mod">
          <ac:chgData name="Tespina Youssef" userId="1b64db5d-6257-4127-9ac2-b46596966bd0" providerId="ADAL" clId="{6C028FD6-4445-4B47-BA71-A3AE977DC91E}" dt="2026-01-08T16:38:30.703" v="553"/>
          <ac:graphicFrameMkLst>
            <pc:docMk/>
            <pc:sldMk cId="3218707296" sldId="263"/>
            <ac:graphicFrameMk id="4" creationId="{E763E75D-661D-9CA9-E3DA-D9BED2A783CE}"/>
          </ac:graphicFrameMkLst>
        </pc:graphicFrameChg>
      </pc:sldChg>
      <pc:sldChg chg="addSp delSp modSp add mod">
        <pc:chgData name="Tespina Youssef" userId="1b64db5d-6257-4127-9ac2-b46596966bd0" providerId="ADAL" clId="{6C028FD6-4445-4B47-BA71-A3AE977DC91E}" dt="2026-01-08T16:40:55.814" v="782" actId="1076"/>
        <pc:sldMkLst>
          <pc:docMk/>
          <pc:sldMk cId="1491282186" sldId="264"/>
        </pc:sldMkLst>
        <pc:spChg chg="mod">
          <ac:chgData name="Tespina Youssef" userId="1b64db5d-6257-4127-9ac2-b46596966bd0" providerId="ADAL" clId="{6C028FD6-4445-4B47-BA71-A3AE977DC91E}" dt="2026-01-08T16:39:28.796" v="649" actId="948"/>
          <ac:spMkLst>
            <pc:docMk/>
            <pc:sldMk cId="1491282186" sldId="264"/>
            <ac:spMk id="2" creationId="{968E6FDD-ED21-6FC6-12C5-AFD0E839DED6}"/>
          </ac:spMkLst>
        </pc:spChg>
        <pc:spChg chg="mod">
          <ac:chgData name="Tespina Youssef" userId="1b64db5d-6257-4127-9ac2-b46596966bd0" providerId="ADAL" clId="{6C028FD6-4445-4B47-BA71-A3AE977DC91E}" dt="2026-01-08T16:40:50.898" v="781" actId="5793"/>
          <ac:spMkLst>
            <pc:docMk/>
            <pc:sldMk cId="1491282186" sldId="264"/>
            <ac:spMk id="5" creationId="{A89956C4-6589-DA1D-ECC5-8EF12670B77F}"/>
          </ac:spMkLst>
        </pc:spChg>
        <pc:spChg chg="mod">
          <ac:chgData name="Tespina Youssef" userId="1b64db5d-6257-4127-9ac2-b46596966bd0" providerId="ADAL" clId="{6C028FD6-4445-4B47-BA71-A3AE977DC91E}" dt="2026-01-08T16:40:55.814" v="782" actId="1076"/>
          <ac:spMkLst>
            <pc:docMk/>
            <pc:sldMk cId="1491282186" sldId="264"/>
            <ac:spMk id="6" creationId="{93D53351-C5E2-E05F-4BD9-2AA93A1DF5C6}"/>
          </ac:spMkLst>
        </pc:spChg>
        <pc:graphicFrameChg chg="mod">
          <ac:chgData name="Tespina Youssef" userId="1b64db5d-6257-4127-9ac2-b46596966bd0" providerId="ADAL" clId="{6C028FD6-4445-4B47-BA71-A3AE977DC91E}" dt="2026-01-08T16:39:28.824" v="680"/>
          <ac:graphicFrameMkLst>
            <pc:docMk/>
            <pc:sldMk cId="1491282186" sldId="264"/>
            <ac:graphicFrameMk id="4" creationId="{17E6FA3E-2D51-B486-3BAE-B20155F22914}"/>
          </ac:graphicFrameMkLst>
        </pc:graphicFrameChg>
      </pc:sldChg>
      <pc:sldChg chg="addSp delSp modSp add mod">
        <pc:chgData name="Tespina Youssef" userId="1b64db5d-6257-4127-9ac2-b46596966bd0" providerId="ADAL" clId="{6C028FD6-4445-4B47-BA71-A3AE977DC91E}" dt="2026-01-14T05:28:58.092" v="2263" actId="465"/>
        <pc:sldMkLst>
          <pc:docMk/>
          <pc:sldMk cId="2416233360" sldId="265"/>
        </pc:sldMkLst>
        <pc:spChg chg="add mod">
          <ac:chgData name="Tespina Youssef" userId="1b64db5d-6257-4127-9ac2-b46596966bd0" providerId="ADAL" clId="{6C028FD6-4445-4B47-BA71-A3AE977DC91E}" dt="2026-01-14T05:24:53.163" v="2131" actId="1035"/>
          <ac:spMkLst>
            <pc:docMk/>
            <pc:sldMk cId="2416233360" sldId="265"/>
            <ac:spMk id="6" creationId="{7F95A2AE-87AE-8CD1-27A8-A6A69B682167}"/>
          </ac:spMkLst>
        </pc:spChg>
        <pc:spChg chg="add mod">
          <ac:chgData name="Tespina Youssef" userId="1b64db5d-6257-4127-9ac2-b46596966bd0" providerId="ADAL" clId="{6C028FD6-4445-4B47-BA71-A3AE977DC91E}" dt="2026-01-14T05:27:08.654" v="2227" actId="1035"/>
          <ac:spMkLst>
            <pc:docMk/>
            <pc:sldMk cId="2416233360" sldId="265"/>
            <ac:spMk id="7" creationId="{EE8DE923-FE4B-E54F-A445-FEB209DE5390}"/>
          </ac:spMkLst>
        </pc:spChg>
        <pc:spChg chg="add mod ord">
          <ac:chgData name="Tespina Youssef" userId="1b64db5d-6257-4127-9ac2-b46596966bd0" providerId="ADAL" clId="{6C028FD6-4445-4B47-BA71-A3AE977DC91E}" dt="2026-01-14T05:28:58.092" v="2263" actId="465"/>
          <ac:spMkLst>
            <pc:docMk/>
            <pc:sldMk cId="2416233360" sldId="265"/>
            <ac:spMk id="8" creationId="{D246AEB5-CC7D-F90F-8275-F4B386CBB185}"/>
          </ac:spMkLst>
        </pc:spChg>
        <pc:spChg chg="add del mod">
          <ac:chgData name="Tespina Youssef" userId="1b64db5d-6257-4127-9ac2-b46596966bd0" providerId="ADAL" clId="{6C028FD6-4445-4B47-BA71-A3AE977DC91E}" dt="2026-01-14T05:26:08.207" v="2144" actId="21"/>
          <ac:spMkLst>
            <pc:docMk/>
            <pc:sldMk cId="2416233360" sldId="265"/>
            <ac:spMk id="9" creationId="{2C6A8A19-775B-1F51-654E-20DD4D9C5380}"/>
          </ac:spMkLst>
        </pc:spChg>
        <pc:spChg chg="add del mod">
          <ac:chgData name="Tespina Youssef" userId="1b64db5d-6257-4127-9ac2-b46596966bd0" providerId="ADAL" clId="{6C028FD6-4445-4B47-BA71-A3AE977DC91E}" dt="2026-01-14T05:26:08.207" v="2144" actId="21"/>
          <ac:spMkLst>
            <pc:docMk/>
            <pc:sldMk cId="2416233360" sldId="265"/>
            <ac:spMk id="10" creationId="{6B7D3AA5-858F-0B01-44BE-3B537C60AD91}"/>
          </ac:spMkLst>
        </pc:spChg>
        <pc:spChg chg="add del mod">
          <ac:chgData name="Tespina Youssef" userId="1b64db5d-6257-4127-9ac2-b46596966bd0" providerId="ADAL" clId="{6C028FD6-4445-4B47-BA71-A3AE977DC91E}" dt="2026-01-14T05:24:29.325" v="2116" actId="21"/>
          <ac:spMkLst>
            <pc:docMk/>
            <pc:sldMk cId="2416233360" sldId="265"/>
            <ac:spMk id="11" creationId="{7F95A2AE-87AE-8CD1-27A8-A6A69B682167}"/>
          </ac:spMkLst>
        </pc:spChg>
        <pc:spChg chg="add mod">
          <ac:chgData name="Tespina Youssef" userId="1b64db5d-6257-4127-9ac2-b46596966bd0" providerId="ADAL" clId="{6C028FD6-4445-4B47-BA71-A3AE977DC91E}" dt="2026-01-14T05:24:43.577" v="2122" actId="1076"/>
          <ac:spMkLst>
            <pc:docMk/>
            <pc:sldMk cId="2416233360" sldId="265"/>
            <ac:spMk id="12" creationId="{67A5567C-30CC-827D-0E81-2FE2749FDD2D}"/>
          </ac:spMkLst>
        </pc:spChg>
        <pc:spChg chg="add mod">
          <ac:chgData name="Tespina Youssef" userId="1b64db5d-6257-4127-9ac2-b46596966bd0" providerId="ADAL" clId="{6C028FD6-4445-4B47-BA71-A3AE977DC91E}" dt="2026-01-14T05:24:51.110" v="2125" actId="14100"/>
          <ac:spMkLst>
            <pc:docMk/>
            <pc:sldMk cId="2416233360" sldId="265"/>
            <ac:spMk id="13" creationId="{BE0B5D9F-751A-F369-434F-478BDE41ABE5}"/>
          </ac:spMkLst>
        </pc:spChg>
        <pc:spChg chg="add mod">
          <ac:chgData name="Tespina Youssef" userId="1b64db5d-6257-4127-9ac2-b46596966bd0" providerId="ADAL" clId="{6C028FD6-4445-4B47-BA71-A3AE977DC91E}" dt="2026-01-14T05:25:01.132" v="2140" actId="1036"/>
          <ac:spMkLst>
            <pc:docMk/>
            <pc:sldMk cId="2416233360" sldId="265"/>
            <ac:spMk id="14" creationId="{3056EAC5-795E-5771-EAA6-6FBFBF9D481C}"/>
          </ac:spMkLst>
        </pc:spChg>
        <pc:spChg chg="add del mod">
          <ac:chgData name="Tespina Youssef" userId="1b64db5d-6257-4127-9ac2-b46596966bd0" providerId="ADAL" clId="{6C028FD6-4445-4B47-BA71-A3AE977DC91E}" dt="2026-01-14T05:26:05.288" v="2143" actId="478"/>
          <ac:spMkLst>
            <pc:docMk/>
            <pc:sldMk cId="2416233360" sldId="265"/>
            <ac:spMk id="15" creationId="{67C5B3B9-8AEF-07BC-12E6-50C19DDB365A}"/>
          </ac:spMkLst>
        </pc:spChg>
        <pc:spChg chg="add del mod ord">
          <ac:chgData name="Tespina Youssef" userId="1b64db5d-6257-4127-9ac2-b46596966bd0" providerId="ADAL" clId="{6C028FD6-4445-4B47-BA71-A3AE977DC91E}" dt="2026-01-14T05:27:16.177" v="2244" actId="21"/>
          <ac:spMkLst>
            <pc:docMk/>
            <pc:sldMk cId="2416233360" sldId="265"/>
            <ac:spMk id="16" creationId="{2C6A8A19-775B-1F51-654E-20DD4D9C5380}"/>
          </ac:spMkLst>
        </pc:spChg>
        <pc:spChg chg="add mod">
          <ac:chgData name="Tespina Youssef" userId="1b64db5d-6257-4127-9ac2-b46596966bd0" providerId="ADAL" clId="{6C028FD6-4445-4B47-BA71-A3AE977DC91E}" dt="2026-01-14T05:27:54.560" v="2256" actId="14100"/>
          <ac:spMkLst>
            <pc:docMk/>
            <pc:sldMk cId="2416233360" sldId="265"/>
            <ac:spMk id="17" creationId="{6B7D3AA5-858F-0B01-44BE-3B537C60AD91}"/>
          </ac:spMkLst>
        </pc:spChg>
        <pc:spChg chg="add mod">
          <ac:chgData name="Tespina Youssef" userId="1b64db5d-6257-4127-9ac2-b46596966bd0" providerId="ADAL" clId="{6C028FD6-4445-4B47-BA71-A3AE977DC91E}" dt="2026-01-14T05:28:58.092" v="2263" actId="465"/>
          <ac:spMkLst>
            <pc:docMk/>
            <pc:sldMk cId="2416233360" sldId="265"/>
            <ac:spMk id="18" creationId="{5A55C6B6-34AB-2982-FAB3-F0C96538EBE1}"/>
          </ac:spMkLst>
        </pc:spChg>
        <pc:spChg chg="add mod">
          <ac:chgData name="Tespina Youssef" userId="1b64db5d-6257-4127-9ac2-b46596966bd0" providerId="ADAL" clId="{6C028FD6-4445-4B47-BA71-A3AE977DC91E}" dt="2026-01-14T05:28:58.092" v="2263" actId="465"/>
          <ac:spMkLst>
            <pc:docMk/>
            <pc:sldMk cId="2416233360" sldId="265"/>
            <ac:spMk id="19" creationId="{2C6A8A19-775B-1F51-654E-20DD4D9C5380}"/>
          </ac:spMkLst>
        </pc:spChg>
        <pc:picChg chg="add del mod ord">
          <ac:chgData name="Tespina Youssef" userId="1b64db5d-6257-4127-9ac2-b46596966bd0" providerId="ADAL" clId="{6C028FD6-4445-4B47-BA71-A3AE977DC91E}" dt="2026-01-14T05:24:22.232" v="2113" actId="21"/>
          <ac:picMkLst>
            <pc:docMk/>
            <pc:sldMk cId="2416233360" sldId="265"/>
            <ac:picMk id="3" creationId="{0B6E1E70-B402-0E98-A9FD-E729473DD67D}"/>
          </ac:picMkLst>
        </pc:picChg>
        <pc:picChg chg="add mod">
          <ac:chgData name="Tespina Youssef" userId="1b64db5d-6257-4127-9ac2-b46596966bd0" providerId="ADAL" clId="{6C028FD6-4445-4B47-BA71-A3AE977DC91E}" dt="2026-01-14T05:24:28.084" v="2115"/>
          <ac:picMkLst>
            <pc:docMk/>
            <pc:sldMk cId="2416233360" sldId="265"/>
            <ac:picMk id="5" creationId="{0B6E1E70-B402-0E98-A9FD-E729473DD67D}"/>
          </ac:picMkLst>
        </pc:picChg>
        <pc:picChg chg="add del mod">
          <ac:chgData name="Tespina Youssef" userId="1b64db5d-6257-4127-9ac2-b46596966bd0" providerId="ADAL" clId="{6C028FD6-4445-4B47-BA71-A3AE977DC91E}" dt="2026-01-14T05:24:03.886" v="2105" actId="478"/>
          <ac:picMkLst>
            <pc:docMk/>
            <pc:sldMk cId="2416233360" sldId="265"/>
            <ac:picMk id="1026" creationId="{C697149F-8F29-E905-B9C7-69BD198715E8}"/>
          </ac:picMkLst>
        </pc:picChg>
      </pc:sldChg>
      <pc:sldChg chg="addSp delSp modSp add mod">
        <pc:chgData name="Tespina Youssef" userId="1b64db5d-6257-4127-9ac2-b46596966bd0" providerId="ADAL" clId="{6C028FD6-4445-4B47-BA71-A3AE977DC91E}" dt="2026-01-08T16:55:20.165" v="1137" actId="1036"/>
        <pc:sldMkLst>
          <pc:docMk/>
          <pc:sldMk cId="1032418897" sldId="266"/>
        </pc:sldMkLst>
        <pc:spChg chg="mod">
          <ac:chgData name="Tespina Youssef" userId="1b64db5d-6257-4127-9ac2-b46596966bd0" providerId="ADAL" clId="{6C028FD6-4445-4B47-BA71-A3AE977DC91E}" dt="2026-01-08T16:51:20.415" v="956" actId="948"/>
          <ac:spMkLst>
            <pc:docMk/>
            <pc:sldMk cId="1032418897" sldId="266"/>
            <ac:spMk id="2" creationId="{C49C986F-6213-9E81-4FC2-8ED2E5D3DFA5}"/>
          </ac:spMkLst>
        </pc:spChg>
        <pc:spChg chg="add mod">
          <ac:chgData name="Tespina Youssef" userId="1b64db5d-6257-4127-9ac2-b46596966bd0" providerId="ADAL" clId="{6C028FD6-4445-4B47-BA71-A3AE977DC91E}" dt="2026-01-08T16:55:15.647" v="1133" actId="553"/>
          <ac:spMkLst>
            <pc:docMk/>
            <pc:sldMk cId="1032418897" sldId="266"/>
            <ac:spMk id="6" creationId="{507CE0FF-BA25-DA90-F568-0EFE33BE8FA2}"/>
          </ac:spMkLst>
        </pc:spChg>
        <pc:spChg chg="add mod">
          <ac:chgData name="Tespina Youssef" userId="1b64db5d-6257-4127-9ac2-b46596966bd0" providerId="ADAL" clId="{6C028FD6-4445-4B47-BA71-A3AE977DC91E}" dt="2026-01-08T16:53:40.267" v="1104" actId="20577"/>
          <ac:spMkLst>
            <pc:docMk/>
            <pc:sldMk cId="1032418897" sldId="266"/>
            <ac:spMk id="12" creationId="{D008AB62-D5C5-85FB-32A0-51282765C544}"/>
          </ac:spMkLst>
        </pc:spChg>
        <pc:spChg chg="add mod">
          <ac:chgData name="Tespina Youssef" userId="1b64db5d-6257-4127-9ac2-b46596966bd0" providerId="ADAL" clId="{6C028FD6-4445-4B47-BA71-A3AE977DC91E}" dt="2026-01-08T16:53:36.901" v="1103" actId="20577"/>
          <ac:spMkLst>
            <pc:docMk/>
            <pc:sldMk cId="1032418897" sldId="266"/>
            <ac:spMk id="13" creationId="{5F818B59-2B6C-2886-DAF6-2E62A3518443}"/>
          </ac:spMkLst>
        </pc:spChg>
        <pc:spChg chg="add mod">
          <ac:chgData name="Tespina Youssef" userId="1b64db5d-6257-4127-9ac2-b46596966bd0" providerId="ADAL" clId="{6C028FD6-4445-4B47-BA71-A3AE977DC91E}" dt="2026-01-08T16:55:20.165" v="1137" actId="1036"/>
          <ac:spMkLst>
            <pc:docMk/>
            <pc:sldMk cId="1032418897" sldId="266"/>
            <ac:spMk id="15" creationId="{AEA14317-84F6-DF39-D0D3-166EBEE4F043}"/>
          </ac:spMkLst>
        </pc:spChg>
        <pc:graphicFrameChg chg="mod">
          <ac:chgData name="Tespina Youssef" userId="1b64db5d-6257-4127-9ac2-b46596966bd0" providerId="ADAL" clId="{6C028FD6-4445-4B47-BA71-A3AE977DC91E}" dt="2026-01-08T16:51:20.446" v="987"/>
          <ac:graphicFrameMkLst>
            <pc:docMk/>
            <pc:sldMk cId="1032418897" sldId="266"/>
            <ac:graphicFrameMk id="4" creationId="{1DC41355-1E8F-3E5A-1FCB-23C2256E2C01}"/>
          </ac:graphicFrameMkLst>
        </pc:graphicFrameChg>
      </pc:sldChg>
      <pc:sldChg chg="addSp delSp modSp add mod">
        <pc:chgData name="Tespina Youssef" userId="1b64db5d-6257-4127-9ac2-b46596966bd0" providerId="ADAL" clId="{6C028FD6-4445-4B47-BA71-A3AE977DC91E}" dt="2026-01-08T17:08:35.424" v="1789" actId="14100"/>
        <pc:sldMkLst>
          <pc:docMk/>
          <pc:sldMk cId="681417531" sldId="267"/>
        </pc:sldMkLst>
        <pc:spChg chg="mod">
          <ac:chgData name="Tespina Youssef" userId="1b64db5d-6257-4127-9ac2-b46596966bd0" providerId="ADAL" clId="{6C028FD6-4445-4B47-BA71-A3AE977DC91E}" dt="2026-01-08T16:57:42.248" v="1297" actId="948"/>
          <ac:spMkLst>
            <pc:docMk/>
            <pc:sldMk cId="681417531" sldId="267"/>
            <ac:spMk id="2" creationId="{DE9E0905-3F85-EF10-B132-5ED1F63B5CFF}"/>
          </ac:spMkLst>
        </pc:spChg>
        <pc:spChg chg="add mod">
          <ac:chgData name="Tespina Youssef" userId="1b64db5d-6257-4127-9ac2-b46596966bd0" providerId="ADAL" clId="{6C028FD6-4445-4B47-BA71-A3AE977DC91E}" dt="2026-01-08T16:58:45.215" v="1356" actId="14100"/>
          <ac:spMkLst>
            <pc:docMk/>
            <pc:sldMk cId="681417531" sldId="267"/>
            <ac:spMk id="10" creationId="{3FBE9485-656E-567A-967B-3C87C228157E}"/>
          </ac:spMkLst>
        </pc:spChg>
        <pc:spChg chg="add mod">
          <ac:chgData name="Tespina Youssef" userId="1b64db5d-6257-4127-9ac2-b46596966bd0" providerId="ADAL" clId="{6C028FD6-4445-4B47-BA71-A3AE977DC91E}" dt="2026-01-08T16:58:31.821" v="1354"/>
          <ac:spMkLst>
            <pc:docMk/>
            <pc:sldMk cId="681417531" sldId="267"/>
            <ac:spMk id="11" creationId="{5ED220B8-23BF-562E-5CE6-E24BB0022B8F}"/>
          </ac:spMkLst>
        </pc:spChg>
        <pc:spChg chg="add mod topLvl">
          <ac:chgData name="Tespina Youssef" userId="1b64db5d-6257-4127-9ac2-b46596966bd0" providerId="ADAL" clId="{6C028FD6-4445-4B47-BA71-A3AE977DC91E}" dt="2026-01-08T17:02:44.662" v="1459" actId="113"/>
          <ac:spMkLst>
            <pc:docMk/>
            <pc:sldMk cId="681417531" sldId="267"/>
            <ac:spMk id="14" creationId="{C27DEE4E-43FD-DA35-E30A-2BB4F751EFB0}"/>
          </ac:spMkLst>
        </pc:spChg>
        <pc:spChg chg="add mod topLvl">
          <ac:chgData name="Tespina Youssef" userId="1b64db5d-6257-4127-9ac2-b46596966bd0" providerId="ADAL" clId="{6C028FD6-4445-4B47-BA71-A3AE977DC91E}" dt="2026-01-08T17:02:44.662" v="1459" actId="113"/>
          <ac:spMkLst>
            <pc:docMk/>
            <pc:sldMk cId="681417531" sldId="267"/>
            <ac:spMk id="16" creationId="{F9E676BC-0031-ECEE-20F1-D230DE01DB72}"/>
          </ac:spMkLst>
        </pc:spChg>
        <pc:spChg chg="add mod topLvl">
          <ac:chgData name="Tespina Youssef" userId="1b64db5d-6257-4127-9ac2-b46596966bd0" providerId="ADAL" clId="{6C028FD6-4445-4B47-BA71-A3AE977DC91E}" dt="2026-01-08T17:02:44.662" v="1459" actId="113"/>
          <ac:spMkLst>
            <pc:docMk/>
            <pc:sldMk cId="681417531" sldId="267"/>
            <ac:spMk id="17" creationId="{B9C35FC1-72AE-7CD8-10E7-E38C4D82FF31}"/>
          </ac:spMkLst>
        </pc:spChg>
        <pc:spChg chg="add mod">
          <ac:chgData name="Tespina Youssef" userId="1b64db5d-6257-4127-9ac2-b46596966bd0" providerId="ADAL" clId="{6C028FD6-4445-4B47-BA71-A3AE977DC91E}" dt="2026-01-08T17:01:45.012" v="1403" actId="208"/>
          <ac:spMkLst>
            <pc:docMk/>
            <pc:sldMk cId="681417531" sldId="267"/>
            <ac:spMk id="32" creationId="{EFCFF22F-70D8-BC67-7C0F-5D4E8B99FAF0}"/>
          </ac:spMkLst>
        </pc:spChg>
        <pc:grpChg chg="add mod">
          <ac:chgData name="Tespina Youssef" userId="1b64db5d-6257-4127-9ac2-b46596966bd0" providerId="ADAL" clId="{6C028FD6-4445-4B47-BA71-A3AE977DC91E}" dt="2026-01-08T17:01:21.578" v="1396" actId="164"/>
          <ac:grpSpMkLst>
            <pc:docMk/>
            <pc:sldMk cId="681417531" sldId="267"/>
            <ac:grpSpMk id="28" creationId="{F7CDA64B-6820-1DCC-8D25-0E9EE8B564F6}"/>
          </ac:grpSpMkLst>
        </pc:grpChg>
        <pc:grpChg chg="add mod">
          <ac:chgData name="Tespina Youssef" userId="1b64db5d-6257-4127-9ac2-b46596966bd0" providerId="ADAL" clId="{6C028FD6-4445-4B47-BA71-A3AE977DC91E}" dt="2026-01-08T17:01:21.578" v="1396" actId="164"/>
          <ac:grpSpMkLst>
            <pc:docMk/>
            <pc:sldMk cId="681417531" sldId="267"/>
            <ac:grpSpMk id="29" creationId="{32FBB0B2-F08C-1D1C-A4F1-67DCD8145724}"/>
          </ac:grpSpMkLst>
        </pc:grpChg>
        <pc:grpChg chg="add mod">
          <ac:chgData name="Tespina Youssef" userId="1b64db5d-6257-4127-9ac2-b46596966bd0" providerId="ADAL" clId="{6C028FD6-4445-4B47-BA71-A3AE977DC91E}" dt="2026-01-08T17:01:21.578" v="1396" actId="164"/>
          <ac:grpSpMkLst>
            <pc:docMk/>
            <pc:sldMk cId="681417531" sldId="267"/>
            <ac:grpSpMk id="30" creationId="{90AF7E9D-8B79-9185-9315-8C06B53A232C}"/>
          </ac:grpSpMkLst>
        </pc:grpChg>
        <pc:grpChg chg="add mod">
          <ac:chgData name="Tespina Youssef" userId="1b64db5d-6257-4127-9ac2-b46596966bd0" providerId="ADAL" clId="{6C028FD6-4445-4B47-BA71-A3AE977DC91E}" dt="2026-01-08T17:08:35.424" v="1789" actId="14100"/>
          <ac:grpSpMkLst>
            <pc:docMk/>
            <pc:sldMk cId="681417531" sldId="267"/>
            <ac:grpSpMk id="31" creationId="{663D52F8-D44B-81B4-284C-D6E40C31D0A2}"/>
          </ac:grpSpMkLst>
        </pc:grpChg>
        <pc:graphicFrameChg chg="mod">
          <ac:chgData name="Tespina Youssef" userId="1b64db5d-6257-4127-9ac2-b46596966bd0" providerId="ADAL" clId="{6C028FD6-4445-4B47-BA71-A3AE977DC91E}" dt="2026-01-08T16:57:42.265" v="1321"/>
          <ac:graphicFrameMkLst>
            <pc:docMk/>
            <pc:sldMk cId="681417531" sldId="267"/>
            <ac:graphicFrameMk id="4" creationId="{541D32EF-D96F-DE17-5539-3DB8B398AE38}"/>
          </ac:graphicFrameMkLst>
        </pc:graphicFrameChg>
        <pc:cxnChg chg="add mod topLvl">
          <ac:chgData name="Tespina Youssef" userId="1b64db5d-6257-4127-9ac2-b46596966bd0" providerId="ADAL" clId="{6C028FD6-4445-4B47-BA71-A3AE977DC91E}" dt="2026-01-08T17:08:35.141" v="1788" actId="14100"/>
          <ac:cxnSpMkLst>
            <pc:docMk/>
            <pc:sldMk cId="681417531" sldId="267"/>
            <ac:cxnSpMk id="19" creationId="{EAE95D70-B625-E94F-E22E-92C29250913B}"/>
          </ac:cxnSpMkLst>
        </pc:cxnChg>
        <pc:cxnChg chg="add mod">
          <ac:chgData name="Tespina Youssef" userId="1b64db5d-6257-4127-9ac2-b46596966bd0" providerId="ADAL" clId="{6C028FD6-4445-4B47-BA71-A3AE977DC91E}" dt="2026-01-08T17:08:35.141" v="1788" actId="14100"/>
          <ac:cxnSpMkLst>
            <pc:docMk/>
            <pc:sldMk cId="681417531" sldId="267"/>
            <ac:cxnSpMk id="21" creationId="{0AE8CF5D-1F19-77F0-2810-53F00892310D}"/>
          </ac:cxnSpMkLst>
        </pc:cxnChg>
        <pc:cxnChg chg="mod">
          <ac:chgData name="Tespina Youssef" userId="1b64db5d-6257-4127-9ac2-b46596966bd0" providerId="ADAL" clId="{6C028FD6-4445-4B47-BA71-A3AE977DC91E}" dt="2026-01-08T17:08:35.141" v="1788" actId="14100"/>
          <ac:cxnSpMkLst>
            <pc:docMk/>
            <pc:sldMk cId="681417531" sldId="267"/>
            <ac:cxnSpMk id="25" creationId="{53DE6AD8-30D5-35AF-1624-658343D2AF9F}"/>
          </ac:cxnSpMkLst>
        </pc:cxnChg>
      </pc:sldChg>
      <pc:sldChg chg="addSp delSp modSp add mod">
        <pc:chgData name="Tespina Youssef" userId="1b64db5d-6257-4127-9ac2-b46596966bd0" providerId="ADAL" clId="{6C028FD6-4445-4B47-BA71-A3AE977DC91E}" dt="2026-01-10T07:07:06.841" v="2071" actId="207"/>
        <pc:sldMkLst>
          <pc:docMk/>
          <pc:sldMk cId="2021157027" sldId="268"/>
        </pc:sldMkLst>
        <pc:spChg chg="mod">
          <ac:chgData name="Tespina Youssef" userId="1b64db5d-6257-4127-9ac2-b46596966bd0" providerId="ADAL" clId="{6C028FD6-4445-4B47-BA71-A3AE977DC91E}" dt="2026-01-08T17:03:25.295" v="1535" actId="948"/>
          <ac:spMkLst>
            <pc:docMk/>
            <pc:sldMk cId="2021157027" sldId="268"/>
            <ac:spMk id="2" creationId="{C0B9143B-A4C9-10D4-0C85-9DAC96973CAC}"/>
          </ac:spMkLst>
        </pc:spChg>
        <pc:spChg chg="add mod">
          <ac:chgData name="Tespina Youssef" userId="1b64db5d-6257-4127-9ac2-b46596966bd0" providerId="ADAL" clId="{6C028FD6-4445-4B47-BA71-A3AE977DC91E}" dt="2026-01-10T07:07:06.841" v="2071" actId="207"/>
          <ac:spMkLst>
            <pc:docMk/>
            <pc:sldMk cId="2021157027" sldId="268"/>
            <ac:spMk id="7" creationId="{18011387-F3EC-CDF0-2C1A-41A24CC12EED}"/>
          </ac:spMkLst>
        </pc:spChg>
        <pc:spChg chg="add mod">
          <ac:chgData name="Tespina Youssef" userId="1b64db5d-6257-4127-9ac2-b46596966bd0" providerId="ADAL" clId="{6C028FD6-4445-4B47-BA71-A3AE977DC91E}" dt="2026-01-10T07:07:06.841" v="2071" actId="207"/>
          <ac:spMkLst>
            <pc:docMk/>
            <pc:sldMk cId="2021157027" sldId="268"/>
            <ac:spMk id="8" creationId="{A3B62A1F-BB53-E22C-FA13-3EAA73BFDA6F}"/>
          </ac:spMkLst>
        </pc:spChg>
        <pc:spChg chg="add mod">
          <ac:chgData name="Tespina Youssef" userId="1b64db5d-6257-4127-9ac2-b46596966bd0" providerId="ADAL" clId="{6C028FD6-4445-4B47-BA71-A3AE977DC91E}" dt="2026-01-10T07:07:06.841" v="2071" actId="207"/>
          <ac:spMkLst>
            <pc:docMk/>
            <pc:sldMk cId="2021157027" sldId="268"/>
            <ac:spMk id="9" creationId="{147342A7-16CF-C76E-3B8F-D279C188067F}"/>
          </ac:spMkLst>
        </pc:spChg>
        <pc:spChg chg="add mod">
          <ac:chgData name="Tespina Youssef" userId="1b64db5d-6257-4127-9ac2-b46596966bd0" providerId="ADAL" clId="{6C028FD6-4445-4B47-BA71-A3AE977DC91E}" dt="2026-01-08T17:13:32.265" v="1827" actId="208"/>
          <ac:spMkLst>
            <pc:docMk/>
            <pc:sldMk cId="2021157027" sldId="268"/>
            <ac:spMk id="13" creationId="{81E1869C-52AD-FD2B-0EA9-C041067ADDF8}"/>
          </ac:spMkLst>
        </pc:spChg>
        <pc:spChg chg="mod">
          <ac:chgData name="Tespina Youssef" userId="1b64db5d-6257-4127-9ac2-b46596966bd0" providerId="ADAL" clId="{6C028FD6-4445-4B47-BA71-A3AE977DC91E}" dt="2026-01-08T17:03:43.135" v="1568" actId="403"/>
          <ac:spMkLst>
            <pc:docMk/>
            <pc:sldMk cId="2021157027" sldId="268"/>
            <ac:spMk id="14" creationId="{B057EF07-AA96-DE6D-C442-D1FED3850330}"/>
          </ac:spMkLst>
        </pc:spChg>
        <pc:spChg chg="mod">
          <ac:chgData name="Tespina Youssef" userId="1b64db5d-6257-4127-9ac2-b46596966bd0" providerId="ADAL" clId="{6C028FD6-4445-4B47-BA71-A3AE977DC91E}" dt="2026-01-08T17:03:43.135" v="1568" actId="403"/>
          <ac:spMkLst>
            <pc:docMk/>
            <pc:sldMk cId="2021157027" sldId="268"/>
            <ac:spMk id="16" creationId="{0DC9E129-82E9-1841-0981-2EC9889DEEBF}"/>
          </ac:spMkLst>
        </pc:spChg>
        <pc:spChg chg="mod">
          <ac:chgData name="Tespina Youssef" userId="1b64db5d-6257-4127-9ac2-b46596966bd0" providerId="ADAL" clId="{6C028FD6-4445-4B47-BA71-A3AE977DC91E}" dt="2026-01-08T17:03:43.135" v="1568" actId="403"/>
          <ac:spMkLst>
            <pc:docMk/>
            <pc:sldMk cId="2021157027" sldId="268"/>
            <ac:spMk id="17" creationId="{1FBEA93B-B97F-D1B1-0BF5-424C9C3489F8}"/>
          </ac:spMkLst>
        </pc:spChg>
        <pc:grpChg chg="add mod">
          <ac:chgData name="Tespina Youssef" userId="1b64db5d-6257-4127-9ac2-b46596966bd0" providerId="ADAL" clId="{6C028FD6-4445-4B47-BA71-A3AE977DC91E}" dt="2026-01-08T17:11:30.293" v="1802" actId="14100"/>
          <ac:grpSpMkLst>
            <pc:docMk/>
            <pc:sldMk cId="2021157027" sldId="268"/>
            <ac:grpSpMk id="12" creationId="{E9CA80B4-55BB-AE79-C26A-183E78B4B3E4}"/>
          </ac:grpSpMkLst>
        </pc:grpChg>
        <pc:grpChg chg="mod">
          <ac:chgData name="Tespina Youssef" userId="1b64db5d-6257-4127-9ac2-b46596966bd0" providerId="ADAL" clId="{6C028FD6-4445-4B47-BA71-A3AE977DC91E}" dt="2026-01-08T17:08:42.103" v="1790" actId="164"/>
          <ac:grpSpMkLst>
            <pc:docMk/>
            <pc:sldMk cId="2021157027" sldId="268"/>
            <ac:grpSpMk id="31" creationId="{EDD28FD8-4DAB-7484-33C7-47A27D93C3A2}"/>
          </ac:grpSpMkLst>
        </pc:grpChg>
        <pc:graphicFrameChg chg="mod">
          <ac:chgData name="Tespina Youssef" userId="1b64db5d-6257-4127-9ac2-b46596966bd0" providerId="ADAL" clId="{6C028FD6-4445-4B47-BA71-A3AE977DC91E}" dt="2026-01-08T17:03:25.316" v="1559"/>
          <ac:graphicFrameMkLst>
            <pc:docMk/>
            <pc:sldMk cId="2021157027" sldId="268"/>
            <ac:graphicFrameMk id="4" creationId="{E64157B3-9324-6242-BA9C-10191747D6AC}"/>
          </ac:graphicFrameMkLst>
        </pc:graphicFrameChg>
      </pc:sldChg>
      <pc:sldChg chg="addSp delSp modSp add mod">
        <pc:chgData name="Tespina Youssef" userId="1b64db5d-6257-4127-9ac2-b46596966bd0" providerId="ADAL" clId="{6C028FD6-4445-4B47-BA71-A3AE977DC91E}" dt="2026-01-10T07:06:59.850" v="2070" actId="207"/>
        <pc:sldMkLst>
          <pc:docMk/>
          <pc:sldMk cId="2022425562" sldId="269"/>
        </pc:sldMkLst>
        <pc:spChg chg="mod">
          <ac:chgData name="Tespina Youssef" userId="1b64db5d-6257-4127-9ac2-b46596966bd0" providerId="ADAL" clId="{6C028FD6-4445-4B47-BA71-A3AE977DC91E}" dt="2026-01-08T17:04:37.161" v="1697" actId="948"/>
          <ac:spMkLst>
            <pc:docMk/>
            <pc:sldMk cId="2022425562" sldId="269"/>
            <ac:spMk id="2" creationId="{FB27FC60-A05C-1AB5-A9A6-E8798B3C934E}"/>
          </ac:spMkLst>
        </pc:spChg>
        <pc:spChg chg="add mod">
          <ac:chgData name="Tespina Youssef" userId="1b64db5d-6257-4127-9ac2-b46596966bd0" providerId="ADAL" clId="{6C028FD6-4445-4B47-BA71-A3AE977DC91E}" dt="2026-01-10T07:06:59.850" v="2070" actId="207"/>
          <ac:spMkLst>
            <pc:docMk/>
            <pc:sldMk cId="2022425562" sldId="269"/>
            <ac:spMk id="11" creationId="{AE951079-2971-BD5E-DE88-BBD053F83CC9}"/>
          </ac:spMkLst>
        </pc:spChg>
        <pc:graphicFrameChg chg="mod">
          <ac:chgData name="Tespina Youssef" userId="1b64db5d-6257-4127-9ac2-b46596966bd0" providerId="ADAL" clId="{6C028FD6-4445-4B47-BA71-A3AE977DC91E}" dt="2026-01-08T17:04:37.186" v="1721"/>
          <ac:graphicFrameMkLst>
            <pc:docMk/>
            <pc:sldMk cId="2022425562" sldId="269"/>
            <ac:graphicFrameMk id="4" creationId="{AF6E13F2-69A9-7EBD-0EC2-E3C1FCA08745}"/>
          </ac:graphicFrameMkLst>
        </pc:graphicFrameChg>
      </pc:sldChg>
      <pc:sldMasterChg chg="addSp delSp modSp mod modSldLayout">
        <pc:chgData name="Tespina Youssef" userId="1b64db5d-6257-4127-9ac2-b46596966bd0" providerId="ADAL" clId="{6C028FD6-4445-4B47-BA71-A3AE977DC91E}" dt="2026-01-10T07:06:00.296" v="1971" actId="21"/>
        <pc:sldMasterMkLst>
          <pc:docMk/>
          <pc:sldMasterMk cId="2448753837" sldId="2147483821"/>
        </pc:sldMasterMkLst>
        <pc:spChg chg="add mod">
          <ac:chgData name="Tespina Youssef" userId="1b64db5d-6257-4127-9ac2-b46596966bd0" providerId="ADAL" clId="{6C028FD6-4445-4B47-BA71-A3AE977DC91E}" dt="2026-01-10T07:05:46.507" v="1881"/>
          <ac:spMkLst>
            <pc:docMk/>
            <pc:sldMasterMk cId="2448753837" sldId="2147483821"/>
            <ac:spMk id="12" creationId="{3242AD61-224C-21FE-5F5E-D24C8B10CADD}"/>
          </ac:spMkLst>
        </pc:spChg>
        <pc:sldLayoutChg chg="addSp delSp modSp mod">
          <pc:chgData name="Tespina Youssef" userId="1b64db5d-6257-4127-9ac2-b46596966bd0" providerId="ADAL" clId="{6C028FD6-4445-4B47-BA71-A3AE977DC91E}" dt="2026-01-10T07:06:00.296" v="1971" actId="21"/>
          <pc:sldLayoutMkLst>
            <pc:docMk/>
            <pc:sldMasterMk cId="2448753837" sldId="2147483821"/>
            <pc:sldLayoutMk cId="4001288866" sldId="2147483822"/>
          </pc:sldLayoutMkLst>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2" creationId="{D674139F-466A-0DEB-3705-6B5B6D86F9C1}"/>
            </ac:spMkLst>
          </pc:spChg>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3" creationId="{360546C5-C548-60F9-5106-5B5B41ADB588}"/>
            </ac:spMkLst>
          </pc:spChg>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4" creationId="{053A30F7-3549-87C6-0CBD-D46F3240EC1E}"/>
            </ac:spMkLst>
          </pc:spChg>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5" creationId="{F3FAF907-6E6E-7D56-0FEA-ECE1708F2998}"/>
            </ac:spMkLst>
          </pc:spChg>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6" creationId="{98157307-73DE-0842-A030-846D8984C334}"/>
            </ac:spMkLst>
          </pc:spChg>
          <pc:spChg chg="mod ord">
            <ac:chgData name="Tespina Youssef" userId="1b64db5d-6257-4127-9ac2-b46596966bd0" providerId="ADAL" clId="{6C028FD6-4445-4B47-BA71-A3AE977DC91E}" dt="2026-01-10T07:05:58.339" v="1968"/>
            <ac:spMkLst>
              <pc:docMk/>
              <pc:sldMasterMk cId="2448753837" sldId="2147483821"/>
              <pc:sldLayoutMk cId="4001288866" sldId="2147483822"/>
              <ac:spMk id="10" creationId="{F2AA115D-83B7-67FD-53D3-CF165564C589}"/>
            </ac:spMkLst>
          </pc:spChg>
          <pc:graphicFrameChg chg="mod">
            <ac:chgData name="Tespina Youssef" userId="1b64db5d-6257-4127-9ac2-b46596966bd0" providerId="ADAL" clId="{6C028FD6-4445-4B47-BA71-A3AE977DC91E}" dt="2026-01-10T07:05:58.401" v="1970"/>
            <ac:graphicFrameMkLst>
              <pc:docMk/>
              <pc:sldMasterMk cId="2448753837" sldId="2147483821"/>
              <pc:sldLayoutMk cId="4001288866" sldId="2147483822"/>
              <ac:graphicFrameMk id="9" creationId="{F1343E5A-7F1A-F708-210D-F170DFBD3D1B}"/>
            </ac:graphicFrameMkLst>
          </pc:graphicFrameChg>
          <pc:picChg chg="mod ord">
            <ac:chgData name="Tespina Youssef" userId="1b64db5d-6257-4127-9ac2-b46596966bd0" providerId="ADAL" clId="{6C028FD6-4445-4B47-BA71-A3AE977DC91E}" dt="2026-01-10T07:05:58.339" v="1968"/>
            <ac:picMkLst>
              <pc:docMk/>
              <pc:sldMasterMk cId="2448753837" sldId="2147483821"/>
              <pc:sldLayoutMk cId="4001288866" sldId="2147483822"/>
              <ac:picMk id="7" creationId="{7ED884F5-319F-2BF1-ADA1-7461907534F8}"/>
            </ac:picMkLst>
          </pc:picChg>
        </pc:sldLayoutChg>
      </pc:sldMasterChg>
      <pc:sldMasterChg chg="modSldLayout">
        <pc:chgData name="Tespina Youssef" userId="1b64db5d-6257-4127-9ac2-b46596966bd0" providerId="ADAL" clId="{6C028FD6-4445-4B47-BA71-A3AE977DC91E}" dt="2026-01-10T07:04:52.302" v="1874"/>
        <pc:sldMasterMkLst>
          <pc:docMk/>
          <pc:sldMasterMk cId="927776944" sldId="2147483833"/>
        </pc:sldMasterMkLst>
        <pc:sldLayoutChg chg="addSp delSp modSp mod">
          <pc:chgData name="Tespina Youssef" userId="1b64db5d-6257-4127-9ac2-b46596966bd0" providerId="ADAL" clId="{6C028FD6-4445-4B47-BA71-A3AE977DC91E}" dt="2026-01-10T07:04:52.302" v="1874"/>
          <pc:sldLayoutMkLst>
            <pc:docMk/>
            <pc:sldMasterMk cId="927776944" sldId="2147483833"/>
            <pc:sldLayoutMk cId="1507714694" sldId="2147483835"/>
          </pc:sldLayoutMkLst>
          <pc:spChg chg="mod ord">
            <ac:chgData name="Tespina Youssef" userId="1b64db5d-6257-4127-9ac2-b46596966bd0" providerId="ADAL" clId="{6C028FD6-4445-4B47-BA71-A3AE977DC91E}" dt="2026-01-10T07:04:52.293" v="1856"/>
            <ac:spMkLst>
              <pc:docMk/>
              <pc:sldMasterMk cId="927776944" sldId="2147483833"/>
              <pc:sldLayoutMk cId="1507714694" sldId="2147483835"/>
              <ac:spMk id="2" creationId="{E20A5C42-4A84-716B-F204-7308A2F5A270}"/>
            </ac:spMkLst>
          </pc:spChg>
          <pc:spChg chg="mod ord">
            <ac:chgData name="Tespina Youssef" userId="1b64db5d-6257-4127-9ac2-b46596966bd0" providerId="ADAL" clId="{6C028FD6-4445-4B47-BA71-A3AE977DC91E}" dt="2026-01-10T07:04:52.294" v="1858"/>
            <ac:spMkLst>
              <pc:docMk/>
              <pc:sldMasterMk cId="927776944" sldId="2147483833"/>
              <pc:sldLayoutMk cId="1507714694" sldId="2147483835"/>
              <ac:spMk id="3" creationId="{98B424B2-0E67-2040-432B-36D5EF6D5DD9}"/>
            </ac:spMkLst>
          </pc:spChg>
          <pc:spChg chg="mod ord">
            <ac:chgData name="Tespina Youssef" userId="1b64db5d-6257-4127-9ac2-b46596966bd0" providerId="ADAL" clId="{6C028FD6-4445-4B47-BA71-A3AE977DC91E}" dt="2026-01-10T07:04:52.295" v="1860"/>
            <ac:spMkLst>
              <pc:docMk/>
              <pc:sldMasterMk cId="927776944" sldId="2147483833"/>
              <pc:sldLayoutMk cId="1507714694" sldId="2147483835"/>
              <ac:spMk id="4" creationId="{1CC46210-B0CC-D3A1-BEC0-C697E1CCE828}"/>
            </ac:spMkLst>
          </pc:spChg>
          <pc:spChg chg="mod ord">
            <ac:chgData name="Tespina Youssef" userId="1b64db5d-6257-4127-9ac2-b46596966bd0" providerId="ADAL" clId="{6C028FD6-4445-4B47-BA71-A3AE977DC91E}" dt="2026-01-10T07:04:52.296" v="1862"/>
            <ac:spMkLst>
              <pc:docMk/>
              <pc:sldMasterMk cId="927776944" sldId="2147483833"/>
              <pc:sldLayoutMk cId="1507714694" sldId="2147483835"/>
              <ac:spMk id="5" creationId="{0C44CCC3-3D76-1A13-6F11-2D8D99A66CA0}"/>
            </ac:spMkLst>
          </pc:spChg>
          <pc:spChg chg="mod ord">
            <ac:chgData name="Tespina Youssef" userId="1b64db5d-6257-4127-9ac2-b46596966bd0" providerId="ADAL" clId="{6C028FD6-4445-4B47-BA71-A3AE977DC91E}" dt="2026-01-10T07:04:52.296" v="1864"/>
            <ac:spMkLst>
              <pc:docMk/>
              <pc:sldMasterMk cId="927776944" sldId="2147483833"/>
              <pc:sldLayoutMk cId="1507714694" sldId="2147483835"/>
              <ac:spMk id="6" creationId="{EF0F1921-698D-B3E0-C809-44A368D88BE4}"/>
            </ac:spMkLst>
          </pc:spChg>
          <pc:spChg chg="add mod ord">
            <ac:chgData name="Tespina Youssef" userId="1b64db5d-6257-4127-9ac2-b46596966bd0" providerId="ADAL" clId="{6C028FD6-4445-4B47-BA71-A3AE977DC91E}" dt="2026-01-10T07:04:52.293" v="1854"/>
            <ac:spMkLst>
              <pc:docMk/>
              <pc:sldMasterMk cId="927776944" sldId="2147483833"/>
              <pc:sldLayoutMk cId="1507714694" sldId="2147483835"/>
              <ac:spMk id="8" creationId="{55850D82-BA08-71F9-3149-3937CEBD7969}"/>
            </ac:spMkLst>
          </pc:spChg>
          <pc:spChg chg="mod ord">
            <ac:chgData name="Tespina Youssef" userId="1b64db5d-6257-4127-9ac2-b46596966bd0" providerId="ADAL" clId="{6C028FD6-4445-4B47-BA71-A3AE977DC91E}" dt="2026-01-10T07:04:52.298" v="1866"/>
            <ac:spMkLst>
              <pc:docMk/>
              <pc:sldMasterMk cId="927776944" sldId="2147483833"/>
              <pc:sldLayoutMk cId="1507714694" sldId="2147483835"/>
              <ac:spMk id="10" creationId="{4E0B25F4-DF30-EAAB-A12E-60720E20C21E}"/>
            </ac:spMkLst>
          </pc:spChg>
          <pc:spChg chg="mod ord">
            <ac:chgData name="Tespina Youssef" userId="1b64db5d-6257-4127-9ac2-b46596966bd0" providerId="ADAL" clId="{6C028FD6-4445-4B47-BA71-A3AE977DC91E}" dt="2026-01-10T07:04:52.298" v="1868"/>
            <ac:spMkLst>
              <pc:docMk/>
              <pc:sldMasterMk cId="927776944" sldId="2147483833"/>
              <pc:sldLayoutMk cId="1507714694" sldId="2147483835"/>
              <ac:spMk id="15" creationId="{33E9EC16-294D-04F2-829C-67C2852B07C8}"/>
            </ac:spMkLst>
          </pc:spChg>
          <pc:spChg chg="mod ord">
            <ac:chgData name="Tespina Youssef" userId="1b64db5d-6257-4127-9ac2-b46596966bd0" providerId="ADAL" clId="{6C028FD6-4445-4B47-BA71-A3AE977DC91E}" dt="2026-01-10T07:04:52.299" v="1870"/>
            <ac:spMkLst>
              <pc:docMk/>
              <pc:sldMasterMk cId="927776944" sldId="2147483833"/>
              <pc:sldLayoutMk cId="1507714694" sldId="2147483835"/>
              <ac:spMk id="17" creationId="{CFFDD847-5BDC-076E-1989-01F1388CBC4D}"/>
            </ac:spMkLst>
          </pc:spChg>
          <pc:graphicFrameChg chg="mod">
            <ac:chgData name="Tespina Youssef" userId="1b64db5d-6257-4127-9ac2-b46596966bd0" providerId="ADAL" clId="{6C028FD6-4445-4B47-BA71-A3AE977DC91E}" dt="2026-01-10T07:04:52.302" v="1874"/>
            <ac:graphicFrameMkLst>
              <pc:docMk/>
              <pc:sldMasterMk cId="927776944" sldId="2147483833"/>
              <pc:sldLayoutMk cId="1507714694" sldId="2147483835"/>
              <ac:graphicFrameMk id="9" creationId="{011B588C-9900-9D2E-2303-1F7299E0CBCF}"/>
            </ac:graphicFrameMkLst>
          </pc:graphicFrameChg>
        </pc:sldLayoutChg>
      </pc:sldMaster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84132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400128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18183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942602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385731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105398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65889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hape 1">
            <a:extLst>
              <a:ext uri="{FF2B5EF4-FFF2-40B4-BE49-F238E27FC236}">
                <a16:creationId xmlns:a16="http://schemas.microsoft.com/office/drawing/2014/main" id="{55850D82-BA08-71F9-3149-3937CEBD7969}"/>
              </a:ext>
            </a:extLst>
          </p:cNvPr>
          <p:cNvSpPr/>
          <p:nvPr userDrawn="1"/>
        </p:nvSpPr>
        <p:spPr>
          <a:xfrm>
            <a:off x="0" y="0"/>
            <a:ext cx="12186621" cy="6858000"/>
          </a:xfrm>
          <a:prstGeom prst="rect">
            <a:avLst/>
          </a:prstGeom>
          <a:solidFill>
            <a:srgbClr val="FEF5E7"/>
          </a:solidFill>
          <a:ln/>
        </p:spPr>
        <p:txBody>
          <a:bodyPr/>
          <a:lstStyle/>
          <a:p>
            <a:endParaRPr lang="en-AE"/>
          </a:p>
        </p:txBody>
      </p:sp>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725241" y="365126"/>
            <a:ext cx="10515600" cy="779462"/>
          </a:xfrm>
        </p:spPr>
        <p:txBody>
          <a:bodyPr vert="horz">
            <a:noAutofit/>
          </a:bodyPr>
          <a:lstStyle>
            <a:lvl1pPr>
              <a:defRPr sz="3000" b="1">
                <a:solidFill>
                  <a:srgbClr val="5E6246"/>
                </a:solidFill>
                <a:latin typeface="Quicksand"/>
              </a:defRPr>
            </a:lvl1pPr>
          </a:lstStyle>
          <a:p>
            <a:r>
              <a:rPr lang="en-US" dirty="0"/>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rot="5400000">
            <a:off x="465264" y="731997"/>
            <a:ext cx="565673" cy="45719"/>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FFDD847-5BDC-076E-1989-01F1388CBC4D}"/>
              </a:ext>
            </a:extLst>
          </p:cNvPr>
          <p:cNvSpPr txBox="1"/>
          <p:nvPr userDrawn="1"/>
        </p:nvSpPr>
        <p:spPr>
          <a:xfrm>
            <a:off x="9042104" y="6624658"/>
            <a:ext cx="3161033" cy="230832"/>
          </a:xfrm>
          <a:prstGeom prst="rect">
            <a:avLst/>
          </a:prstGeom>
          <a:noFill/>
        </p:spPr>
        <p:txBody>
          <a:bodyPr wrap="square">
            <a:spAutoFit/>
          </a:bodyPr>
          <a:lstStyle/>
          <a:p>
            <a:r>
              <a:rPr lang="en-US" sz="900" b="1" dirty="0">
                <a:solidFill>
                  <a:srgbClr val="838961"/>
                </a:solidFill>
                <a:latin typeface="Quicksand" pitchFamily="2" charset="0"/>
              </a:rPr>
              <a:t>Instagram: consulting.hq | LinkedIn: Consulting HQ</a:t>
            </a:r>
            <a:endParaRPr lang="en-US" sz="900" b="1" dirty="0">
              <a:solidFill>
                <a:srgbClr val="838961"/>
              </a:solidFill>
            </a:endParaRPr>
          </a:p>
        </p:txBody>
      </p:sp>
    </p:spTree>
    <p:extLst>
      <p:ext uri="{BB962C8B-B14F-4D97-AF65-F5344CB8AC3E}">
        <p14:creationId xmlns:p14="http://schemas.microsoft.com/office/powerpoint/2010/main" val="1507714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529784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998599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627955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413075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70477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3667594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8823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D096BA7A-5A4F-3E14-D735-08862D8FCC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838200" y="365126"/>
            <a:ext cx="10515600" cy="779462"/>
          </a:xfrm>
        </p:spPr>
        <p:txBody>
          <a:bodyPr vert="horz">
            <a:normAutofit/>
          </a:bodyPr>
          <a:lstStyle>
            <a:lvl1pPr>
              <a:defRPr sz="3200" b="1">
                <a:solidFill>
                  <a:srgbClr val="5E6246"/>
                </a:solidFill>
                <a:latin typeface="Quicksand"/>
              </a:defRPr>
            </a:lvl1pPr>
          </a:lstStyle>
          <a:p>
            <a:r>
              <a:rPr lang="en-US"/>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a:off x="838200" y="1102659"/>
            <a:ext cx="1221889" cy="47307"/>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89266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5462828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0812982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4229620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696206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803079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472107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994924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365525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136269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4/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254950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6.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2" name="Shape 1">
            <a:extLst>
              <a:ext uri="{FF2B5EF4-FFF2-40B4-BE49-F238E27FC236}">
                <a16:creationId xmlns:a16="http://schemas.microsoft.com/office/drawing/2014/main" id="{3242AD61-224C-21FE-5F5E-D24C8B10CADD}"/>
              </a:ext>
            </a:extLst>
          </p:cNvPr>
          <p:cNvSpPr/>
          <p:nvPr userDrawn="1"/>
        </p:nvSpPr>
        <p:spPr>
          <a:xfrm>
            <a:off x="0" y="0"/>
            <a:ext cx="12186621" cy="6858000"/>
          </a:xfrm>
          <a:prstGeom prst="rect">
            <a:avLst/>
          </a:prstGeom>
          <a:solidFill>
            <a:srgbClr val="FEF5E7">
              <a:alpha val="50000"/>
            </a:srgbClr>
          </a:solidFill>
          <a:ln/>
        </p:spPr>
        <p:txBody>
          <a:bodyPr/>
          <a:lstStyle/>
          <a:p>
            <a:endParaRPr lang="en-AE"/>
          </a:p>
        </p:txBody>
      </p:sp>
    </p:spTree>
    <p:extLst>
      <p:ext uri="{BB962C8B-B14F-4D97-AF65-F5344CB8AC3E}">
        <p14:creationId xmlns:p14="http://schemas.microsoft.com/office/powerpoint/2010/main" val="244875383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4/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927776944"/>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tags" Target="../tags/tag1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tags" Target="../tags/tag1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1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54777-D755-8D77-DB0B-6CDB0EAAFCFF}"/>
              </a:ext>
            </a:extLst>
          </p:cNvPr>
          <p:cNvGraphicFramePr>
            <a:graphicFrameLocks noChangeAspect="1"/>
          </p:cNvGraphicFramePr>
          <p:nvPr>
            <p:custDataLst>
              <p:tags r:id="rId1"/>
            </p:custDataLst>
            <p:extLst>
              <p:ext uri="{D42A27DB-BD31-4B8C-83A1-F6EECF244321}">
                <p14:modId xmlns:p14="http://schemas.microsoft.com/office/powerpoint/2010/main" val="354049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3" name="think-cell data - do not delete" hidden="1">
                        <a:extLst>
                          <a:ext uri="{FF2B5EF4-FFF2-40B4-BE49-F238E27FC236}">
                            <a16:creationId xmlns:a16="http://schemas.microsoft.com/office/drawing/2014/main" id="{D1E54777-D755-8D77-DB0B-6CDB0EAAF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5B734D55-21D0-A8A0-323F-D31A2DBE9A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2" name="Shape 1">
            <a:extLst>
              <a:ext uri="{FF2B5EF4-FFF2-40B4-BE49-F238E27FC236}">
                <a16:creationId xmlns:a16="http://schemas.microsoft.com/office/drawing/2014/main" id="{FC1151EA-F0A1-71AD-5CC8-4F5518DF5D21}"/>
              </a:ext>
            </a:extLst>
          </p:cNvPr>
          <p:cNvSpPr/>
          <p:nvPr/>
        </p:nvSpPr>
        <p:spPr>
          <a:xfrm>
            <a:off x="0" y="0"/>
            <a:ext cx="12186621" cy="6858000"/>
          </a:xfrm>
          <a:prstGeom prst="rect">
            <a:avLst/>
          </a:prstGeom>
          <a:solidFill>
            <a:srgbClr val="FEF5E7">
              <a:alpha val="50000"/>
            </a:srgbClr>
          </a:solidFill>
          <a:ln/>
        </p:spPr>
        <p:txBody>
          <a:bodyPr/>
          <a:lstStyle/>
          <a:p>
            <a:endParaRPr lang="en-AE"/>
          </a:p>
        </p:txBody>
      </p:sp>
      <p:pic>
        <p:nvPicPr>
          <p:cNvPr id="11" name="Picture 10">
            <a:extLst>
              <a:ext uri="{FF2B5EF4-FFF2-40B4-BE49-F238E27FC236}">
                <a16:creationId xmlns:a16="http://schemas.microsoft.com/office/drawing/2014/main" id="{F9CB1ACF-DCAA-73FD-EB30-E03632C5FB4A}"/>
              </a:ext>
            </a:extLst>
          </p:cNvPr>
          <p:cNvPicPr>
            <a:picLocks noChangeAspect="1"/>
          </p:cNvPicPr>
          <p:nvPr/>
        </p:nvPicPr>
        <p:blipFill>
          <a:blip r:embed="rId6">
            <a:extLst>
              <a:ext uri="{28A0092B-C50C-407E-A947-70E740481C1C}">
                <a14:useLocalDpi xmlns:a14="http://schemas.microsoft.com/office/drawing/2010/main" val="0"/>
              </a:ext>
            </a:extLst>
          </a:blip>
          <a:srcRect l="5276"/>
          <a:stretch>
            <a:fillRect/>
          </a:stretch>
        </p:blipFill>
        <p:spPr>
          <a:xfrm>
            <a:off x="236761" y="1870201"/>
            <a:ext cx="3050723" cy="3680320"/>
          </a:xfrm>
          <a:prstGeom prst="rect">
            <a:avLst/>
          </a:prstGeom>
        </p:spPr>
      </p:pic>
      <p:sp>
        <p:nvSpPr>
          <p:cNvPr id="4" name="TextBox 3">
            <a:extLst>
              <a:ext uri="{FF2B5EF4-FFF2-40B4-BE49-F238E27FC236}">
                <a16:creationId xmlns:a16="http://schemas.microsoft.com/office/drawing/2014/main" id="{1A75DFF3-C8EB-E4DF-F045-3FF3D6332833}"/>
              </a:ext>
            </a:extLst>
          </p:cNvPr>
          <p:cNvSpPr txBox="1"/>
          <p:nvPr/>
        </p:nvSpPr>
        <p:spPr>
          <a:xfrm>
            <a:off x="193220" y="4068261"/>
            <a:ext cx="305072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Quicksand" pitchFamily="2" charset="0"/>
                <a:ea typeface="+mn-ea"/>
                <a:cs typeface="+mn-cs"/>
              </a:rPr>
              <a:t>Your go-to consulting mentors</a:t>
            </a:r>
            <a:endPar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5" name="Picture 4">
            <a:extLst>
              <a:ext uri="{FF2B5EF4-FFF2-40B4-BE49-F238E27FC236}">
                <a16:creationId xmlns:a16="http://schemas.microsoft.com/office/drawing/2014/main" id="{9A65BB8C-BAA7-B6BB-68B6-004692B2A8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70185" y="1513754"/>
            <a:ext cx="1981200" cy="1981200"/>
          </a:xfrm>
          <a:prstGeom prst="rect">
            <a:avLst/>
          </a:prstGeom>
        </p:spPr>
      </p:pic>
      <p:pic>
        <p:nvPicPr>
          <p:cNvPr id="6" name="Picture 5">
            <a:extLst>
              <a:ext uri="{FF2B5EF4-FFF2-40B4-BE49-F238E27FC236}">
                <a16:creationId xmlns:a16="http://schemas.microsoft.com/office/drawing/2014/main" id="{862D6FDD-615F-048D-D3B5-8894A2C278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491842" y="-261257"/>
            <a:ext cx="1981200" cy="1981200"/>
          </a:xfrm>
          <a:prstGeom prst="rect">
            <a:avLst/>
          </a:prstGeom>
        </p:spPr>
      </p:pic>
      <p:sp>
        <p:nvSpPr>
          <p:cNvPr id="7" name="Title 1">
            <a:extLst>
              <a:ext uri="{FF2B5EF4-FFF2-40B4-BE49-F238E27FC236}">
                <a16:creationId xmlns:a16="http://schemas.microsoft.com/office/drawing/2014/main" id="{15F85F7B-BFE0-85C6-DB46-FD12799C4D8D}"/>
              </a:ext>
            </a:extLst>
          </p:cNvPr>
          <p:cNvSpPr txBox="1">
            <a:spLocks/>
          </p:cNvSpPr>
          <p:nvPr/>
        </p:nvSpPr>
        <p:spPr>
          <a:xfrm>
            <a:off x="6889905" y="480639"/>
            <a:ext cx="4859072" cy="322972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5E6246"/>
                </a:solidFill>
                <a:effectLst/>
                <a:uLnTx/>
                <a:uFillTx/>
                <a:latin typeface="Canela Black Trial" pitchFamily="50" charset="0"/>
                <a:ea typeface="+mj-ea"/>
                <a:cs typeface="+mj-cs"/>
              </a:rPr>
              <a:t>⁠</a:t>
            </a:r>
            <a:r>
              <a:rPr kumimoji="0" lang="en-US" b="1" i="0" u="none" strike="noStrike" kern="1200" cap="none" spc="0" normalizeH="0" baseline="0" noProof="0" dirty="0">
                <a:ln>
                  <a:noFill/>
                </a:ln>
                <a:solidFill>
                  <a:srgbClr val="5E6246"/>
                </a:solidFill>
                <a:effectLst/>
                <a:uLnTx/>
                <a:uFillTx/>
                <a:latin typeface="Canela Black Trial" pitchFamily="50" charset="0"/>
                <a:ea typeface="+mj-ea"/>
                <a:cs typeface="+mj-cs"/>
              </a:rPr>
              <a:t>Consulting Resumes &amp; Cover Letters</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1800" b="1" i="1" dirty="0">
                <a:solidFill>
                  <a:srgbClr val="5E6246"/>
                </a:solidFill>
                <a:latin typeface="Canela Black Trial" pitchFamily="50" charset="0"/>
              </a:rPr>
              <a:t>What</a:t>
            </a:r>
            <a:r>
              <a:rPr kumimoji="0" lang="en-US" sz="1200" b="1" i="1" u="none" strike="noStrike" kern="1200" cap="none" spc="0" normalizeH="0" baseline="0" noProof="0" dirty="0">
                <a:ln>
                  <a:noFill/>
                </a:ln>
                <a:solidFill>
                  <a:srgbClr val="5E6246"/>
                </a:solidFill>
                <a:effectLst/>
                <a:uLnTx/>
                <a:uFillTx/>
                <a:latin typeface="Canela Black Trial" pitchFamily="50" charset="0"/>
                <a:ea typeface="+mj-ea"/>
                <a:cs typeface="+mj-cs"/>
              </a:rPr>
              <a:t> </a:t>
            </a:r>
            <a:r>
              <a:rPr kumimoji="0" lang="en-US" sz="1800" b="1" i="1" u="none" strike="noStrike" kern="1200" cap="none" spc="0" normalizeH="0" baseline="0" noProof="0" dirty="0">
                <a:ln>
                  <a:noFill/>
                </a:ln>
                <a:solidFill>
                  <a:srgbClr val="5E6246"/>
                </a:solidFill>
                <a:effectLst/>
                <a:uLnTx/>
                <a:uFillTx/>
                <a:latin typeface="Canela Black Trial" pitchFamily="50" charset="0"/>
                <a:ea typeface="+mj-ea"/>
                <a:cs typeface="+mj-cs"/>
              </a:rPr>
              <a:t>Actually Gets You an Interview</a:t>
            </a:r>
            <a:endParaRPr kumimoji="0" lang="en-US" sz="4800" b="1" i="1" u="none" strike="noStrike" kern="1200" cap="none" spc="0" normalizeH="0" baseline="0" noProof="0" dirty="0">
              <a:ln>
                <a:noFill/>
              </a:ln>
              <a:solidFill>
                <a:srgbClr val="5E6246"/>
              </a:solidFill>
              <a:effectLst/>
              <a:uLnTx/>
              <a:uFillTx/>
              <a:latin typeface="Canela Black Trial" pitchFamily="50" charset="0"/>
              <a:ea typeface="+mj-ea"/>
              <a:cs typeface="+mj-cs"/>
            </a:endParaRPr>
          </a:p>
        </p:txBody>
      </p:sp>
      <p:sp>
        <p:nvSpPr>
          <p:cNvPr id="8" name="TextBox 7">
            <a:extLst>
              <a:ext uri="{FF2B5EF4-FFF2-40B4-BE49-F238E27FC236}">
                <a16:creationId xmlns:a16="http://schemas.microsoft.com/office/drawing/2014/main" id="{D6F1AA1D-ADD1-2E99-FE94-B04105C9047C}"/>
              </a:ext>
            </a:extLst>
          </p:cNvPr>
          <p:cNvSpPr txBox="1"/>
          <p:nvPr/>
        </p:nvSpPr>
        <p:spPr>
          <a:xfrm>
            <a:off x="236762" y="5788207"/>
            <a:ext cx="30507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6246"/>
                </a:solidFill>
                <a:effectLst/>
                <a:uLnTx/>
                <a:uFillTx/>
                <a:latin typeface="Quicksand" pitchFamily="2" charset="0"/>
                <a:ea typeface="+mn-ea"/>
                <a:cs typeface="+mn-cs"/>
              </a:rPr>
              <a:t>January 2026</a:t>
            </a:r>
            <a:endParaRPr kumimoji="0" lang="en-US" sz="1600" b="1" i="0" u="none" strike="noStrike" kern="1200" cap="none" spc="0" normalizeH="0" baseline="0" noProof="0" dirty="0">
              <a:ln>
                <a:noFill/>
              </a:ln>
              <a:solidFill>
                <a:srgbClr val="5E6246"/>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5452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492FC-B8B6-5CF4-A379-A3233AABE8D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E89102-B030-3D5F-444F-E6EB0F219DA0}"/>
              </a:ext>
            </a:extLst>
          </p:cNvPr>
          <p:cNvGraphicFramePr>
            <a:graphicFrameLocks noChangeAspect="1"/>
          </p:cNvGraphicFramePr>
          <p:nvPr>
            <p:custDataLst>
              <p:tags r:id="rId1"/>
            </p:custDataLst>
            <p:extLst>
              <p:ext uri="{D42A27DB-BD31-4B8C-83A1-F6EECF244321}">
                <p14:modId xmlns:p14="http://schemas.microsoft.com/office/powerpoint/2010/main" val="1626290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86E89102-B030-3D5F-444F-E6EB0F219D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39B0A6B-778F-C128-5F85-A4DB60F425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2" name="Shape 1">
            <a:extLst>
              <a:ext uri="{FF2B5EF4-FFF2-40B4-BE49-F238E27FC236}">
                <a16:creationId xmlns:a16="http://schemas.microsoft.com/office/drawing/2014/main" id="{335177A3-21A0-C3C6-0B59-68224A8BBF28}"/>
              </a:ext>
            </a:extLst>
          </p:cNvPr>
          <p:cNvSpPr/>
          <p:nvPr/>
        </p:nvSpPr>
        <p:spPr>
          <a:xfrm>
            <a:off x="0" y="0"/>
            <a:ext cx="12186621" cy="6858000"/>
          </a:xfrm>
          <a:prstGeom prst="rect">
            <a:avLst/>
          </a:prstGeom>
          <a:solidFill>
            <a:srgbClr val="FEF5E7">
              <a:alpha val="50000"/>
            </a:srgbClr>
          </a:solidFill>
          <a:ln/>
        </p:spPr>
        <p:txBody>
          <a:bodyPr/>
          <a:lstStyle/>
          <a:p>
            <a:endParaRPr lang="en-AE"/>
          </a:p>
        </p:txBody>
      </p:sp>
      <p:pic>
        <p:nvPicPr>
          <p:cNvPr id="5" name="Picture 4">
            <a:extLst>
              <a:ext uri="{FF2B5EF4-FFF2-40B4-BE49-F238E27FC236}">
                <a16:creationId xmlns:a16="http://schemas.microsoft.com/office/drawing/2014/main" id="{B6547E4E-1522-29A9-2602-CC3FF1F778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71441" y="3038447"/>
            <a:ext cx="1981200" cy="1981200"/>
          </a:xfrm>
          <a:prstGeom prst="rect">
            <a:avLst/>
          </a:prstGeom>
        </p:spPr>
      </p:pic>
      <p:sp>
        <p:nvSpPr>
          <p:cNvPr id="7" name="Title 1">
            <a:extLst>
              <a:ext uri="{FF2B5EF4-FFF2-40B4-BE49-F238E27FC236}">
                <a16:creationId xmlns:a16="http://schemas.microsoft.com/office/drawing/2014/main" id="{407B598D-7770-4F6A-F4AB-B6955080CC73}"/>
              </a:ext>
            </a:extLst>
          </p:cNvPr>
          <p:cNvSpPr txBox="1">
            <a:spLocks/>
          </p:cNvSpPr>
          <p:nvPr/>
        </p:nvSpPr>
        <p:spPr>
          <a:xfrm>
            <a:off x="4104047" y="3007708"/>
            <a:ext cx="3983904" cy="85493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5E6246"/>
                </a:solidFill>
                <a:effectLst/>
                <a:uLnTx/>
                <a:uFillTx/>
                <a:latin typeface="Canela Black Trial" pitchFamily="50" charset="0"/>
                <a:ea typeface="+mj-ea"/>
                <a:cs typeface="+mj-cs"/>
              </a:rPr>
              <a:t>THANK YOU</a:t>
            </a:r>
            <a:endParaRPr kumimoji="0" lang="en-US" sz="9600" b="1" i="0" u="none" strike="noStrike" kern="1200" cap="none" spc="0" normalizeH="0" baseline="0" noProof="0" dirty="0">
              <a:ln>
                <a:noFill/>
              </a:ln>
              <a:solidFill>
                <a:srgbClr val="5E6246"/>
              </a:solidFill>
              <a:effectLst/>
              <a:uLnTx/>
              <a:uFillTx/>
              <a:latin typeface="Canela Black Trial" pitchFamily="50" charset="0"/>
              <a:ea typeface="+mj-ea"/>
              <a:cs typeface="+mj-cs"/>
            </a:endParaRPr>
          </a:p>
        </p:txBody>
      </p:sp>
      <p:sp>
        <p:nvSpPr>
          <p:cNvPr id="3" name="TextBox 2">
            <a:extLst>
              <a:ext uri="{FF2B5EF4-FFF2-40B4-BE49-F238E27FC236}">
                <a16:creationId xmlns:a16="http://schemas.microsoft.com/office/drawing/2014/main" id="{72070395-BC2D-84E9-FCA5-045EAE884E74}"/>
              </a:ext>
            </a:extLst>
          </p:cNvPr>
          <p:cNvSpPr txBox="1"/>
          <p:nvPr/>
        </p:nvSpPr>
        <p:spPr>
          <a:xfrm>
            <a:off x="5379" y="6591038"/>
            <a:ext cx="305072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48B63"/>
                </a:solidFill>
                <a:effectLst/>
                <a:uLnTx/>
                <a:uFillTx/>
                <a:latin typeface="Quicksand" pitchFamily="2" charset="0"/>
                <a:ea typeface="+mn-ea"/>
                <a:cs typeface="+mn-cs"/>
              </a:rPr>
              <a:t>| Consulting Headquarters (CHQ) </a:t>
            </a:r>
            <a:endParaRPr kumimoji="0" lang="en-US" sz="1100" b="1" i="0" u="none" strike="noStrike" kern="1200" cap="none" spc="0" normalizeH="0" baseline="0" noProof="0" dirty="0">
              <a:ln>
                <a:noFill/>
              </a:ln>
              <a:solidFill>
                <a:srgbClr val="848B63"/>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D167C971-A3E1-727A-8B7C-77591038AE48}"/>
              </a:ext>
            </a:extLst>
          </p:cNvPr>
          <p:cNvSpPr txBox="1"/>
          <p:nvPr/>
        </p:nvSpPr>
        <p:spPr>
          <a:xfrm>
            <a:off x="9035380" y="6591038"/>
            <a:ext cx="316103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E6246"/>
                </a:solidFill>
                <a:effectLst/>
                <a:uLnTx/>
                <a:uFillTx/>
                <a:latin typeface="Quicksand" pitchFamily="2" charset="0"/>
                <a:ea typeface="+mn-ea"/>
                <a:cs typeface="+mn-cs"/>
              </a:rPr>
              <a:t>Instagram: consulting.hq | LinkedIn: Consulting HQ</a:t>
            </a:r>
            <a:endParaRPr kumimoji="0" lang="en-US" sz="1100" b="1" i="0" u="none" strike="noStrike" kern="1200" cap="none" spc="0" normalizeH="0" baseline="0" noProof="0" dirty="0">
              <a:ln>
                <a:noFill/>
              </a:ln>
              <a:solidFill>
                <a:srgbClr val="5E6246"/>
              </a:solidFill>
              <a:effectLst/>
              <a:uLnTx/>
              <a:uFillTx/>
              <a:latin typeface="Aptos" panose="02110004020202020204"/>
              <a:ea typeface="+mn-ea"/>
              <a:cs typeface="+mn-cs"/>
            </a:endParaRPr>
          </a:p>
        </p:txBody>
      </p:sp>
      <p:pic>
        <p:nvPicPr>
          <p:cNvPr id="12" name="Picture 11">
            <a:extLst>
              <a:ext uri="{FF2B5EF4-FFF2-40B4-BE49-F238E27FC236}">
                <a16:creationId xmlns:a16="http://schemas.microsoft.com/office/drawing/2014/main" id="{671528DB-E738-7790-5AAA-47346518E9DD}"/>
              </a:ext>
            </a:extLst>
          </p:cNvPr>
          <p:cNvPicPr>
            <a:picLocks noChangeAspect="1"/>
          </p:cNvPicPr>
          <p:nvPr/>
        </p:nvPicPr>
        <p:blipFill>
          <a:blip r:embed="rId7">
            <a:alphaModFix amt="8000"/>
            <a:extLst>
              <a:ext uri="{28A0092B-C50C-407E-A947-70E740481C1C}">
                <a14:useLocalDpi xmlns:a14="http://schemas.microsoft.com/office/drawing/2010/main" val="0"/>
              </a:ext>
            </a:extLst>
          </a:blip>
          <a:srcRect l="5276" t="37305" b="37305"/>
          <a:stretch>
            <a:fillRect/>
          </a:stretch>
        </p:blipFill>
        <p:spPr>
          <a:xfrm>
            <a:off x="22180" y="12355"/>
            <a:ext cx="6190149" cy="1659262"/>
          </a:xfrm>
          <a:prstGeom prst="rect">
            <a:avLst/>
          </a:prstGeom>
        </p:spPr>
      </p:pic>
      <p:pic>
        <p:nvPicPr>
          <p:cNvPr id="15" name="Picture 14">
            <a:extLst>
              <a:ext uri="{FF2B5EF4-FFF2-40B4-BE49-F238E27FC236}">
                <a16:creationId xmlns:a16="http://schemas.microsoft.com/office/drawing/2014/main" id="{567A3B67-4D6C-D0E3-4FE6-8A8D43E233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0800000">
            <a:off x="2262270" y="1933303"/>
            <a:ext cx="1981200" cy="1981200"/>
          </a:xfrm>
          <a:prstGeom prst="rect">
            <a:avLst/>
          </a:prstGeom>
        </p:spPr>
      </p:pic>
    </p:spTree>
    <p:extLst>
      <p:ext uri="{BB962C8B-B14F-4D97-AF65-F5344CB8AC3E}">
        <p14:creationId xmlns:p14="http://schemas.microsoft.com/office/powerpoint/2010/main" val="1168594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FE273C-8E77-2A8B-6AB4-D152EDFE96A3}"/>
              </a:ext>
            </a:extLst>
          </p:cNvPr>
          <p:cNvGraphicFramePr>
            <a:graphicFrameLocks noChangeAspect="1"/>
          </p:cNvGraphicFramePr>
          <p:nvPr>
            <p:custDataLst>
              <p:tags r:id="rId1"/>
            </p:custDataLst>
            <p:extLst>
              <p:ext uri="{D42A27DB-BD31-4B8C-83A1-F6EECF244321}">
                <p14:modId xmlns:p14="http://schemas.microsoft.com/office/powerpoint/2010/main" val="3608265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C5FE273C-8E77-2A8B-6AB4-D152EDFE96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1B264F-C3D3-F3A0-4FF2-9A88B39864FF}"/>
              </a:ext>
            </a:extLst>
          </p:cNvPr>
          <p:cNvSpPr>
            <a:spLocks noGrp="1"/>
          </p:cNvSpPr>
          <p:nvPr>
            <p:ph type="title"/>
          </p:nvPr>
        </p:nvSpPr>
        <p:spPr/>
        <p:txBody>
          <a:bodyPr vert="horz"/>
          <a:lstStyle/>
          <a:p>
            <a:r>
              <a:rPr lang="en-US" dirty="0"/>
              <a:t>Content</a:t>
            </a:r>
          </a:p>
        </p:txBody>
      </p:sp>
      <p:sp>
        <p:nvSpPr>
          <p:cNvPr id="6" name="Rectangle 5">
            <a:extLst>
              <a:ext uri="{FF2B5EF4-FFF2-40B4-BE49-F238E27FC236}">
                <a16:creationId xmlns:a16="http://schemas.microsoft.com/office/drawing/2014/main" id="{AB9D05BD-5608-0664-8BD8-4F0DA86BA9CF}"/>
              </a:ext>
            </a:extLst>
          </p:cNvPr>
          <p:cNvSpPr/>
          <p:nvPr/>
        </p:nvSpPr>
        <p:spPr>
          <a:xfrm>
            <a:off x="838199" y="1964871"/>
            <a:ext cx="8512629" cy="29228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lang="en-US" b="1" dirty="0">
                <a:solidFill>
                  <a:srgbClr val="5E6246"/>
                </a:solidFill>
                <a:latin typeface="Quicksand" panose="020B0604020202020204" charset="0"/>
              </a:rPr>
              <a:t>01. Consulting Resume </a:t>
            </a:r>
          </a:p>
          <a:p>
            <a:pPr marR="0" lvl="0" algn="l" defTabSz="914400" rtl="0" eaLnBrk="1" fontAlgn="auto" latinLnBrk="0" hangingPunct="1">
              <a:lnSpc>
                <a:spcPct val="100000"/>
              </a:lnSpc>
              <a:spcBef>
                <a:spcPts val="0"/>
              </a:spcBef>
              <a:spcAft>
                <a:spcPts val="0"/>
              </a:spcAft>
              <a:buClrTx/>
              <a:buSzTx/>
              <a:tabLst/>
              <a:defRPr/>
            </a:pPr>
            <a:endParaRPr lang="en-US" b="1" dirty="0">
              <a:solidFill>
                <a:srgbClr val="5E6246"/>
              </a:solidFill>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lang="en-US" b="1" noProof="0" dirty="0">
                <a:solidFill>
                  <a:srgbClr val="5E6246"/>
                </a:solidFill>
                <a:latin typeface="Quicksand" panose="020B0604020202020204" charset="0"/>
              </a:rPr>
              <a:t>02. </a:t>
            </a:r>
            <a:r>
              <a:rPr kumimoji="0" lang="en-US" sz="1800" b="1" i="0" u="none" strike="noStrike" kern="1200" cap="none" spc="0" normalizeH="0" baseline="0" noProof="0" dirty="0">
                <a:ln>
                  <a:noFill/>
                </a:ln>
                <a:solidFill>
                  <a:srgbClr val="5E6246"/>
                </a:solidFill>
                <a:effectLst/>
                <a:uLnTx/>
                <a:uFillTx/>
                <a:latin typeface="Quicksand" panose="020B0604020202020204" charset="0"/>
              </a:rPr>
              <a:t>Consulting Cover </a:t>
            </a:r>
            <a:r>
              <a:rPr lang="en-US" b="1" dirty="0">
                <a:solidFill>
                  <a:srgbClr val="5E6246"/>
                </a:solidFill>
                <a:latin typeface="Quicksand" panose="020B0604020202020204" charset="0"/>
              </a:rPr>
              <a:t>Letter </a:t>
            </a:r>
            <a:endParaRPr kumimoji="0" lang="en-US" sz="1800" b="1" i="0" u="none" strike="noStrike" kern="1200" cap="none" spc="0" normalizeH="0" baseline="0" noProof="0" dirty="0">
              <a:ln>
                <a:noFill/>
              </a:ln>
              <a:solidFill>
                <a:srgbClr val="5E6246"/>
              </a:solidFill>
              <a:effectLst/>
              <a:uLnTx/>
              <a:uFillTx/>
              <a:latin typeface="Quicksand" panose="020B0604020202020204" charset="0"/>
            </a:endParaRPr>
          </a:p>
        </p:txBody>
      </p:sp>
    </p:spTree>
    <p:extLst>
      <p:ext uri="{BB962C8B-B14F-4D97-AF65-F5344CB8AC3E}">
        <p14:creationId xmlns:p14="http://schemas.microsoft.com/office/powerpoint/2010/main" val="352218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84C11-FA93-814E-4CD0-B5DAF3CC0E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63E75D-661D-9CA9-E3DA-D9BED2A783CE}"/>
              </a:ext>
            </a:extLst>
          </p:cNvPr>
          <p:cNvGraphicFramePr>
            <a:graphicFrameLocks noChangeAspect="1"/>
          </p:cNvGraphicFramePr>
          <p:nvPr>
            <p:custDataLst>
              <p:tags r:id="rId1"/>
            </p:custDataLst>
            <p:extLst>
              <p:ext uri="{D42A27DB-BD31-4B8C-83A1-F6EECF244321}">
                <p14:modId xmlns:p14="http://schemas.microsoft.com/office/powerpoint/2010/main" val="799923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E763E75D-661D-9CA9-E3DA-D9BED2A78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54F0E4-74AD-12C3-0A50-76AD54D90A95}"/>
              </a:ext>
            </a:extLst>
          </p:cNvPr>
          <p:cNvSpPr>
            <a:spLocks noGrp="1"/>
          </p:cNvSpPr>
          <p:nvPr>
            <p:ph type="title"/>
          </p:nvPr>
        </p:nvSpPr>
        <p:spPr/>
        <p:txBody>
          <a:bodyPr vert="horz"/>
          <a:lstStyle/>
          <a:p>
            <a:r>
              <a:rPr lang="en-US" dirty="0"/>
              <a:t>01 – Consulting Resume: </a:t>
            </a:r>
            <a:r>
              <a:rPr lang="en-US" b="0" dirty="0"/>
              <a:t>Introduction</a:t>
            </a:r>
          </a:p>
        </p:txBody>
      </p:sp>
      <p:sp>
        <p:nvSpPr>
          <p:cNvPr id="6" name="Rectangle 5">
            <a:extLst>
              <a:ext uri="{FF2B5EF4-FFF2-40B4-BE49-F238E27FC236}">
                <a16:creationId xmlns:a16="http://schemas.microsoft.com/office/drawing/2014/main" id="{C4C2B4E4-976D-1E5B-C8AA-A541BEFBCF5F}"/>
              </a:ext>
            </a:extLst>
          </p:cNvPr>
          <p:cNvSpPr/>
          <p:nvPr/>
        </p:nvSpPr>
        <p:spPr>
          <a:xfrm>
            <a:off x="838199" y="1964871"/>
            <a:ext cx="8512629" cy="37181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lang="en-US" dirty="0">
                <a:solidFill>
                  <a:srgbClr val="5E6246"/>
                </a:solidFill>
                <a:latin typeface="Quicksand" panose="020B0604020202020204" charset="0"/>
              </a:rPr>
              <a:t>Hard truth: </a:t>
            </a:r>
            <a:r>
              <a:rPr kumimoji="0" lang="en-US" sz="1800" i="0" u="none" strike="noStrike" kern="1200" cap="none" spc="0" normalizeH="0" baseline="0" noProof="0" dirty="0">
                <a:ln>
                  <a:noFill/>
                </a:ln>
                <a:solidFill>
                  <a:srgbClr val="5E6246"/>
                </a:solidFill>
                <a:effectLst/>
                <a:uLnTx/>
                <a:uFillTx/>
                <a:latin typeface="Quicksand" panose="020B0604020202020204" charset="0"/>
              </a:rPr>
              <a:t>Consultants and </a:t>
            </a:r>
            <a:r>
              <a:rPr lang="en-US" dirty="0">
                <a:solidFill>
                  <a:srgbClr val="5E6246"/>
                </a:solidFill>
                <a:latin typeface="Quicksand" panose="020B0604020202020204" charset="0"/>
              </a:rPr>
              <a:t>Interviewers</a:t>
            </a:r>
            <a:r>
              <a:rPr kumimoji="0" lang="en-US" sz="1800" i="0" u="none" strike="noStrike" kern="1200" cap="none" spc="0" normalizeH="0" baseline="0" noProof="0" dirty="0">
                <a:ln>
                  <a:noFill/>
                </a:ln>
                <a:solidFill>
                  <a:srgbClr val="5E6246"/>
                </a:solidFill>
                <a:effectLst/>
                <a:uLnTx/>
                <a:uFillTx/>
                <a:latin typeface="Quicksand" panose="020B0604020202020204" charset="0"/>
              </a:rPr>
              <a:t> </a:t>
            </a:r>
            <a:r>
              <a:rPr kumimoji="0" lang="en-US" sz="1800" b="1" i="0" u="none" strike="noStrike" kern="1200" cap="none" spc="0" normalizeH="0" baseline="0" noProof="0" dirty="0">
                <a:ln>
                  <a:noFill/>
                </a:ln>
                <a:solidFill>
                  <a:srgbClr val="5E6246"/>
                </a:solidFill>
                <a:effectLst/>
                <a:uLnTx/>
                <a:uFillTx/>
                <a:latin typeface="Quicksand" panose="020B0604020202020204" charset="0"/>
              </a:rPr>
              <a:t>do not </a:t>
            </a:r>
            <a:r>
              <a:rPr kumimoji="0" lang="en-US" sz="1800" i="0" u="none" strike="noStrike" kern="1200" cap="none" spc="0" normalizeH="0" baseline="0" noProof="0" dirty="0">
                <a:ln>
                  <a:noFill/>
                </a:ln>
                <a:solidFill>
                  <a:srgbClr val="5E6246"/>
                </a:solidFill>
                <a:effectLst/>
                <a:uLnTx/>
                <a:uFillTx/>
                <a:latin typeface="Quicksand" panose="020B0604020202020204" charset="0"/>
              </a:rPr>
              <a:t>read your resumes!</a:t>
            </a:r>
          </a:p>
          <a:p>
            <a:pPr marR="0" lvl="0" algn="l" defTabSz="914400" rtl="0" eaLnBrk="1" fontAlgn="auto" latinLnBrk="0" hangingPunct="1">
              <a:lnSpc>
                <a:spcPct val="100000"/>
              </a:lnSpc>
              <a:spcBef>
                <a:spcPts val="0"/>
              </a:spcBef>
              <a:spcAft>
                <a:spcPts val="0"/>
              </a:spcAft>
              <a:buClrTx/>
              <a:buSzTx/>
              <a:tabLst/>
              <a:defRPr/>
            </a:pPr>
            <a:endParaRPr kumimoji="0" lang="en-US" sz="1800" i="0" u="none" strike="noStrike" kern="1200" cap="none" spc="0" normalizeH="0" baseline="0" noProof="0" dirty="0">
              <a:ln>
                <a:noFill/>
              </a:ln>
              <a:solidFill>
                <a:srgbClr val="5E6246"/>
              </a:solidFill>
              <a:effectLst/>
              <a:uLnTx/>
              <a:uFillTx/>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They scan for </a:t>
            </a:r>
            <a:r>
              <a:rPr kumimoji="0" lang="en-US" sz="1800" b="1" i="0" u="none" strike="noStrike" kern="1200" cap="none" spc="0" normalizeH="0" baseline="0" noProof="0" dirty="0">
                <a:ln>
                  <a:noFill/>
                </a:ln>
                <a:solidFill>
                  <a:srgbClr val="5E6246"/>
                </a:solidFill>
                <a:effectLst/>
                <a:uLnTx/>
                <a:uFillTx/>
                <a:latin typeface="Quicksand" panose="020B0604020202020204" charset="0"/>
              </a:rPr>
              <a:t>signals</a:t>
            </a:r>
            <a:r>
              <a:rPr kumimoji="0" lang="en-US" sz="1800" i="0" u="none" strike="noStrike" kern="1200" cap="none" spc="0" normalizeH="0" baseline="0" noProof="0" dirty="0">
                <a:ln>
                  <a:noFill/>
                </a:ln>
                <a:solidFill>
                  <a:srgbClr val="5E6246"/>
                </a:solidFill>
                <a:effectLst/>
                <a:uLnTx/>
                <a:uFillTx/>
                <a:latin typeface="Quicksand" panose="020B0604020202020204" charset="0"/>
              </a:rPr>
              <a:t>.</a:t>
            </a:r>
          </a:p>
          <a:p>
            <a:pPr marR="0" lvl="0" algn="l" defTabSz="914400" rtl="0" eaLnBrk="1" fontAlgn="auto" latinLnBrk="0" hangingPunct="1">
              <a:lnSpc>
                <a:spcPct val="100000"/>
              </a:lnSpc>
              <a:spcBef>
                <a:spcPts val="0"/>
              </a:spcBef>
              <a:spcAft>
                <a:spcPts val="0"/>
              </a:spcAft>
              <a:buClrTx/>
              <a:buSzTx/>
              <a:tabLst/>
              <a:defRPr/>
            </a:pPr>
            <a:endParaRPr kumimoji="0" lang="en-US" sz="1800" i="0" u="none" strike="noStrike" kern="1200" cap="none" spc="0" normalizeH="0" baseline="0" noProof="0" dirty="0">
              <a:ln>
                <a:noFill/>
              </a:ln>
              <a:solidFill>
                <a:srgbClr val="5E6246"/>
              </a:solidFill>
              <a:effectLst/>
              <a:uLnTx/>
              <a:uFillTx/>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In under 30 seconds, they look for:</a:t>
            </a:r>
          </a:p>
          <a:p>
            <a:pPr marL="742950" lvl="1" indent="-285750">
              <a:buFont typeface="Wingdings" panose="05000000000000000000" pitchFamily="2" charset="2"/>
              <a:buChar char="ü"/>
              <a:defRPr/>
            </a:pPr>
            <a:r>
              <a:rPr kumimoji="0" lang="en-US" i="0" u="none" strike="noStrike" kern="1200" cap="none" spc="0" normalizeH="0" baseline="0" noProof="0" dirty="0">
                <a:ln>
                  <a:noFill/>
                </a:ln>
                <a:solidFill>
                  <a:srgbClr val="5E6246"/>
                </a:solidFill>
                <a:effectLst/>
                <a:uLnTx/>
                <a:uFillTx/>
                <a:latin typeface="Quicksand" panose="020B0604020202020204" charset="0"/>
              </a:rPr>
              <a:t>Clarity of thinking</a:t>
            </a:r>
          </a:p>
          <a:p>
            <a:pPr marL="742950" lvl="1" indent="-285750">
              <a:buFont typeface="Wingdings" panose="05000000000000000000" pitchFamily="2" charset="2"/>
              <a:buChar char="ü"/>
              <a:defRPr/>
            </a:pPr>
            <a:r>
              <a:rPr kumimoji="0" lang="en-US" i="0" u="none" strike="noStrike" kern="1200" cap="none" spc="0" normalizeH="0" baseline="0" noProof="0" dirty="0">
                <a:ln>
                  <a:noFill/>
                </a:ln>
                <a:solidFill>
                  <a:srgbClr val="5E6246"/>
                </a:solidFill>
                <a:effectLst/>
                <a:uLnTx/>
                <a:uFillTx/>
                <a:latin typeface="Quicksand" panose="020B0604020202020204" charset="0"/>
              </a:rPr>
              <a:t>Evidence of impact</a:t>
            </a:r>
          </a:p>
          <a:p>
            <a:pPr marL="742950" lvl="1" indent="-285750">
              <a:buFont typeface="Wingdings" panose="05000000000000000000" pitchFamily="2" charset="2"/>
              <a:buChar char="ü"/>
              <a:defRPr/>
            </a:pPr>
            <a:r>
              <a:rPr kumimoji="0" lang="en-US" i="0" u="none" strike="noStrike" kern="1200" cap="none" spc="0" normalizeH="0" baseline="0" noProof="0" dirty="0">
                <a:ln>
                  <a:noFill/>
                </a:ln>
                <a:solidFill>
                  <a:srgbClr val="5E6246"/>
                </a:solidFill>
                <a:effectLst/>
                <a:uLnTx/>
                <a:uFillTx/>
                <a:latin typeface="Quicksand" panose="020B0604020202020204" charset="0"/>
              </a:rPr>
              <a:t>Pattern recognition</a:t>
            </a:r>
          </a:p>
          <a:p>
            <a:pPr marL="742950" lvl="1" indent="-285750">
              <a:buFont typeface="Wingdings" panose="05000000000000000000" pitchFamily="2" charset="2"/>
              <a:buChar char="ü"/>
              <a:defRPr/>
            </a:pPr>
            <a:r>
              <a:rPr kumimoji="0" lang="en-US" i="0" u="none" strike="noStrike" kern="1200" cap="none" spc="0" normalizeH="0" baseline="0" noProof="0" dirty="0">
                <a:ln>
                  <a:noFill/>
                </a:ln>
                <a:solidFill>
                  <a:srgbClr val="5E6246"/>
                </a:solidFill>
                <a:effectLst/>
                <a:uLnTx/>
                <a:uFillTx/>
                <a:latin typeface="Quicksand" panose="020B0604020202020204" charset="0"/>
              </a:rPr>
              <a:t>Professional judgment</a:t>
            </a:r>
          </a:p>
          <a:p>
            <a:pPr marR="0" lvl="0" algn="l" defTabSz="914400" rtl="0" eaLnBrk="1" fontAlgn="auto" latinLnBrk="0" hangingPunct="1">
              <a:lnSpc>
                <a:spcPct val="100000"/>
              </a:lnSpc>
              <a:spcBef>
                <a:spcPts val="0"/>
              </a:spcBef>
              <a:spcAft>
                <a:spcPts val="0"/>
              </a:spcAft>
              <a:buClrTx/>
              <a:buSzTx/>
              <a:tabLst/>
              <a:defRPr/>
            </a:pPr>
            <a:endParaRPr lang="en-US" dirty="0">
              <a:solidFill>
                <a:srgbClr val="5E6246"/>
              </a:solidFill>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Everything in this guide exists for one purpose </a:t>
            </a:r>
            <a:r>
              <a:rPr kumimoji="0" lang="en-US" sz="1800" i="0" u="none" strike="noStrike" kern="1200" cap="none" spc="0" normalizeH="0" baseline="0" noProof="0" dirty="0">
                <a:ln>
                  <a:noFill/>
                </a:ln>
                <a:solidFill>
                  <a:srgbClr val="5E6246"/>
                </a:solidFill>
                <a:effectLst/>
                <a:uLnTx/>
                <a:uFillTx/>
                <a:latin typeface="Quicksand" panose="020B0604020202020204" charset="0"/>
                <a:sym typeface="Wingdings" panose="05000000000000000000" pitchFamily="2" charset="2"/>
              </a:rPr>
              <a:t> </a:t>
            </a:r>
            <a:r>
              <a:rPr kumimoji="0" lang="en-US" sz="1800" b="1" i="0" u="none" strike="noStrike" kern="1200" cap="none" spc="0" normalizeH="0" baseline="0" noProof="0" dirty="0">
                <a:ln>
                  <a:noFill/>
                </a:ln>
                <a:solidFill>
                  <a:srgbClr val="5E6246"/>
                </a:solidFill>
                <a:effectLst/>
                <a:uLnTx/>
                <a:uFillTx/>
                <a:latin typeface="Quicksand" panose="020B0604020202020204" charset="0"/>
              </a:rPr>
              <a:t>Get you past the first screen</a:t>
            </a:r>
            <a:r>
              <a:rPr kumimoji="0" lang="en-US" sz="1800" i="0" u="none" strike="noStrike" kern="1200" cap="none" spc="0" normalizeH="0" baseline="0" noProof="0" dirty="0">
                <a:ln>
                  <a:noFill/>
                </a:ln>
                <a:solidFill>
                  <a:srgbClr val="5E6246"/>
                </a:solidFill>
                <a:effectLst/>
                <a:uLnTx/>
                <a:uFillTx/>
                <a:latin typeface="Quicksand" panose="020B0604020202020204" charset="0"/>
              </a:rPr>
              <a:t>.</a:t>
            </a:r>
          </a:p>
        </p:txBody>
      </p:sp>
      <p:sp>
        <p:nvSpPr>
          <p:cNvPr id="5" name="Rectangle: Rounded Corners 4">
            <a:extLst>
              <a:ext uri="{FF2B5EF4-FFF2-40B4-BE49-F238E27FC236}">
                <a16:creationId xmlns:a16="http://schemas.microsoft.com/office/drawing/2014/main" id="{73D1FAB0-21F4-3894-F74B-6B4201BC8EFC}"/>
              </a:ext>
            </a:extLst>
          </p:cNvPr>
          <p:cNvSpPr/>
          <p:nvPr/>
        </p:nvSpPr>
        <p:spPr>
          <a:xfrm>
            <a:off x="725240" y="1560767"/>
            <a:ext cx="5370759" cy="366003"/>
          </a:xfrm>
          <a:prstGeom prst="round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Quicksand"/>
                <a:ea typeface="+mn-ea"/>
                <a:cs typeface="+mn-cs"/>
              </a:rPr>
              <a:t>How Interviewers Screen Applications </a:t>
            </a:r>
          </a:p>
        </p:txBody>
      </p:sp>
    </p:spTree>
    <p:extLst>
      <p:ext uri="{BB962C8B-B14F-4D97-AF65-F5344CB8AC3E}">
        <p14:creationId xmlns:p14="http://schemas.microsoft.com/office/powerpoint/2010/main" val="3218707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FBEC3-9656-437C-FF38-0650AB2FCA2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E6FA3E-2D51-B486-3BAE-B20155F22914}"/>
              </a:ext>
            </a:extLst>
          </p:cNvPr>
          <p:cNvGraphicFramePr>
            <a:graphicFrameLocks noChangeAspect="1"/>
          </p:cNvGraphicFramePr>
          <p:nvPr>
            <p:custDataLst>
              <p:tags r:id="rId1"/>
            </p:custDataLst>
            <p:extLst>
              <p:ext uri="{D42A27DB-BD31-4B8C-83A1-F6EECF244321}">
                <p14:modId xmlns:p14="http://schemas.microsoft.com/office/powerpoint/2010/main" val="925862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17E6FA3E-2D51-B486-3BAE-B20155F229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8E6FDD-ED21-6FC6-12C5-AFD0E839DED6}"/>
              </a:ext>
            </a:extLst>
          </p:cNvPr>
          <p:cNvSpPr>
            <a:spLocks noGrp="1"/>
          </p:cNvSpPr>
          <p:nvPr>
            <p:ph type="title"/>
          </p:nvPr>
        </p:nvSpPr>
        <p:spPr/>
        <p:txBody>
          <a:bodyPr vert="horz"/>
          <a:lstStyle/>
          <a:p>
            <a:r>
              <a:rPr lang="en-US" dirty="0"/>
              <a:t>01 – Consulting Resume: </a:t>
            </a:r>
            <a:r>
              <a:rPr lang="en-US" b="0" dirty="0"/>
              <a:t>One page of Judgment</a:t>
            </a:r>
          </a:p>
        </p:txBody>
      </p:sp>
      <p:sp>
        <p:nvSpPr>
          <p:cNvPr id="6" name="Rectangle 5">
            <a:extLst>
              <a:ext uri="{FF2B5EF4-FFF2-40B4-BE49-F238E27FC236}">
                <a16:creationId xmlns:a16="http://schemas.microsoft.com/office/drawing/2014/main" id="{93D53351-C5E2-E05F-4BD9-2AA93A1DF5C6}"/>
              </a:ext>
            </a:extLst>
          </p:cNvPr>
          <p:cNvSpPr/>
          <p:nvPr/>
        </p:nvSpPr>
        <p:spPr>
          <a:xfrm>
            <a:off x="832756" y="2155371"/>
            <a:ext cx="10668001" cy="37181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A consulting resume should fit on one page. Not because of tradition, but because clarity under constraint is a consulting ski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If you cannot prioritize what matters most in one page, you are signaling the wrong th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The format should be simple, black and white, and one colum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No design elements are needed. Nothing should distract the reader from the content itsel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A consulting resume follows a predictable structure because predictability makes comparison eas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It includes </a:t>
            </a:r>
            <a:r>
              <a:rPr kumimoji="0" lang="en-US" sz="1800" b="1" i="0" u="none" strike="noStrike" kern="1200" cap="none" spc="0" normalizeH="0" baseline="0" noProof="0" dirty="0">
                <a:ln>
                  <a:noFill/>
                </a:ln>
                <a:solidFill>
                  <a:srgbClr val="5E6246"/>
                </a:solidFill>
                <a:effectLst/>
                <a:uLnTx/>
                <a:uFillTx/>
                <a:latin typeface="Quicksand" panose="020B0604020202020204" charset="0"/>
              </a:rPr>
              <a:t>a header, education, professional experience, leadership or extracurricular activities, and/ or a short skills and interest section</a:t>
            </a:r>
            <a:r>
              <a:rPr kumimoji="0" lang="en-US" sz="1800" i="0" u="none" strike="noStrike" kern="1200" cap="none" spc="0" normalizeH="0" baseline="0" noProof="0" dirty="0">
                <a:ln>
                  <a:noFill/>
                </a:ln>
                <a:solidFill>
                  <a:srgbClr val="5E6246"/>
                </a:solidFill>
                <a:effectLst/>
                <a:uLnTx/>
                <a:uFillTx/>
                <a:latin typeface="Quicksand" panose="020B060402020202020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5E6246"/>
                </a:solidFill>
                <a:effectLst/>
                <a:uLnTx/>
                <a:uFillTx/>
                <a:latin typeface="Quicksand" panose="020B0604020202020204" charset="0"/>
              </a:rPr>
              <a:t>Anything outside of this structure usually adds noise rather than value</a:t>
            </a:r>
          </a:p>
        </p:txBody>
      </p:sp>
      <p:sp>
        <p:nvSpPr>
          <p:cNvPr id="5" name="Rectangle: Rounded Corners 4">
            <a:extLst>
              <a:ext uri="{FF2B5EF4-FFF2-40B4-BE49-F238E27FC236}">
                <a16:creationId xmlns:a16="http://schemas.microsoft.com/office/drawing/2014/main" id="{A89956C4-6589-DA1D-ECC5-8EF12670B77F}"/>
              </a:ext>
            </a:extLst>
          </p:cNvPr>
          <p:cNvSpPr/>
          <p:nvPr/>
        </p:nvSpPr>
        <p:spPr>
          <a:xfrm>
            <a:off x="725240" y="1560767"/>
            <a:ext cx="5370759" cy="366003"/>
          </a:xfrm>
          <a:prstGeom prst="round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Quicksand"/>
              </a:rPr>
              <a:t>Consulting Resume – Format </a:t>
            </a:r>
            <a:endParaRPr kumimoji="0" lang="en-US" sz="2000" b="1" i="0" u="none" strike="noStrike" kern="1200" cap="none" spc="0" normalizeH="0" baseline="0" noProof="0" dirty="0">
              <a:ln>
                <a:noFill/>
              </a:ln>
              <a:solidFill>
                <a:prstClr val="white"/>
              </a:solidFill>
              <a:effectLst/>
              <a:uLnTx/>
              <a:uFillTx/>
              <a:latin typeface="Quicksand"/>
              <a:ea typeface="+mn-ea"/>
              <a:cs typeface="+mn-cs"/>
            </a:endParaRPr>
          </a:p>
        </p:txBody>
      </p:sp>
    </p:spTree>
    <p:extLst>
      <p:ext uri="{BB962C8B-B14F-4D97-AF65-F5344CB8AC3E}">
        <p14:creationId xmlns:p14="http://schemas.microsoft.com/office/powerpoint/2010/main" val="1491282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CE354-EF4A-1F0F-8D66-91F10DD24FB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CFB973-30C5-0D2D-8A3C-4A82E2256F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78CFB973-30C5-0D2D-8A3C-4A82E2256F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86037F-D386-EB89-1CEC-65B598F06D7B}"/>
              </a:ext>
            </a:extLst>
          </p:cNvPr>
          <p:cNvSpPr>
            <a:spLocks noGrp="1"/>
          </p:cNvSpPr>
          <p:nvPr>
            <p:ph type="title"/>
          </p:nvPr>
        </p:nvSpPr>
        <p:spPr/>
        <p:txBody>
          <a:bodyPr vert="horz"/>
          <a:lstStyle/>
          <a:p>
            <a:r>
              <a:rPr lang="en-US" dirty="0"/>
              <a:t>01 – Consulting Resume: </a:t>
            </a:r>
            <a:r>
              <a:rPr lang="en-US" b="0" dirty="0"/>
              <a:t>One page of Judgment</a:t>
            </a:r>
          </a:p>
        </p:txBody>
      </p:sp>
      <p:sp>
        <p:nvSpPr>
          <p:cNvPr id="7" name="Speech Bubble: Rectangle 6">
            <a:extLst>
              <a:ext uri="{FF2B5EF4-FFF2-40B4-BE49-F238E27FC236}">
                <a16:creationId xmlns:a16="http://schemas.microsoft.com/office/drawing/2014/main" id="{EE8DE923-FE4B-E54F-A445-FEB209DE5390}"/>
              </a:ext>
            </a:extLst>
          </p:cNvPr>
          <p:cNvSpPr/>
          <p:nvPr/>
        </p:nvSpPr>
        <p:spPr>
          <a:xfrm>
            <a:off x="4577442" y="1169276"/>
            <a:ext cx="5134508" cy="545984"/>
          </a:xfrm>
          <a:prstGeom prst="wedgeRectCallout">
            <a:avLst>
              <a:gd name="adj1" fmla="val -60375"/>
              <a:gd name="adj2" fmla="val 33815"/>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bg1"/>
                </a:solidFill>
                <a:latin typeface="Quicksand" panose="020B0604020202020204" charset="0"/>
              </a:rPr>
              <a:t>The header exists only to identify you and allow the firm to contact you. Your name, phone number, professional email, location, and LinkedIn are sufficient. Photos, summaries, and personal branding statements are unnecessary.</a:t>
            </a:r>
          </a:p>
        </p:txBody>
      </p:sp>
      <p:pic>
        <p:nvPicPr>
          <p:cNvPr id="5" name="Picture 4">
            <a:extLst>
              <a:ext uri="{FF2B5EF4-FFF2-40B4-BE49-F238E27FC236}">
                <a16:creationId xmlns:a16="http://schemas.microsoft.com/office/drawing/2014/main" id="{0B6E1E70-B402-0E98-A9FD-E729473DD67D}"/>
              </a:ext>
            </a:extLst>
          </p:cNvPr>
          <p:cNvPicPr>
            <a:picLocks/>
          </p:cNvPicPr>
          <p:nvPr/>
        </p:nvPicPr>
        <p:blipFill>
          <a:blip r:embed="rId5"/>
          <a:stretch>
            <a:fillRect/>
          </a:stretch>
        </p:blipFill>
        <p:spPr>
          <a:xfrm>
            <a:off x="725240" y="1583870"/>
            <a:ext cx="3405777" cy="4642759"/>
          </a:xfrm>
          <a:prstGeom prst="rect">
            <a:avLst/>
          </a:prstGeom>
        </p:spPr>
      </p:pic>
      <p:sp>
        <p:nvSpPr>
          <p:cNvPr id="6" name="Rectangle 5">
            <a:extLst>
              <a:ext uri="{FF2B5EF4-FFF2-40B4-BE49-F238E27FC236}">
                <a16:creationId xmlns:a16="http://schemas.microsoft.com/office/drawing/2014/main" id="{7F95A2AE-87AE-8CD1-27A8-A6A69B682167}"/>
              </a:ext>
            </a:extLst>
          </p:cNvPr>
          <p:cNvSpPr/>
          <p:nvPr/>
        </p:nvSpPr>
        <p:spPr>
          <a:xfrm>
            <a:off x="2137150" y="1664331"/>
            <a:ext cx="685800" cy="71962"/>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trike="sngStrike" dirty="0"/>
          </a:p>
        </p:txBody>
      </p:sp>
      <p:sp>
        <p:nvSpPr>
          <p:cNvPr id="12" name="Rectangle 11">
            <a:extLst>
              <a:ext uri="{FF2B5EF4-FFF2-40B4-BE49-F238E27FC236}">
                <a16:creationId xmlns:a16="http://schemas.microsoft.com/office/drawing/2014/main" id="{67A5567C-30CC-827D-0E81-2FE2749FDD2D}"/>
              </a:ext>
            </a:extLst>
          </p:cNvPr>
          <p:cNvSpPr/>
          <p:nvPr/>
        </p:nvSpPr>
        <p:spPr>
          <a:xfrm>
            <a:off x="1582392" y="1765617"/>
            <a:ext cx="452217" cy="71962"/>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trike="sngStrike" dirty="0"/>
          </a:p>
        </p:txBody>
      </p:sp>
      <p:sp>
        <p:nvSpPr>
          <p:cNvPr id="13" name="Rectangle 12">
            <a:extLst>
              <a:ext uri="{FF2B5EF4-FFF2-40B4-BE49-F238E27FC236}">
                <a16:creationId xmlns:a16="http://schemas.microsoft.com/office/drawing/2014/main" id="{BE0B5D9F-751A-F369-434F-478BDE41ABE5}"/>
              </a:ext>
            </a:extLst>
          </p:cNvPr>
          <p:cNvSpPr/>
          <p:nvPr/>
        </p:nvSpPr>
        <p:spPr>
          <a:xfrm>
            <a:off x="2089778" y="1765617"/>
            <a:ext cx="548446" cy="71962"/>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trike="sngStrike" dirty="0"/>
          </a:p>
        </p:txBody>
      </p:sp>
      <p:sp>
        <p:nvSpPr>
          <p:cNvPr id="14" name="Rectangle 13">
            <a:extLst>
              <a:ext uri="{FF2B5EF4-FFF2-40B4-BE49-F238E27FC236}">
                <a16:creationId xmlns:a16="http://schemas.microsoft.com/office/drawing/2014/main" id="{3056EAC5-795E-5771-EAA6-6FBFBF9D481C}"/>
              </a:ext>
            </a:extLst>
          </p:cNvPr>
          <p:cNvSpPr/>
          <p:nvPr/>
        </p:nvSpPr>
        <p:spPr>
          <a:xfrm>
            <a:off x="3401051" y="1754565"/>
            <a:ext cx="548446" cy="71962"/>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trike="sngStrike" dirty="0"/>
          </a:p>
        </p:txBody>
      </p:sp>
      <p:sp>
        <p:nvSpPr>
          <p:cNvPr id="8" name="Speech Bubble: Rectangle 7">
            <a:extLst>
              <a:ext uri="{FF2B5EF4-FFF2-40B4-BE49-F238E27FC236}">
                <a16:creationId xmlns:a16="http://schemas.microsoft.com/office/drawing/2014/main" id="{D246AEB5-CC7D-F90F-8275-F4B386CBB185}"/>
              </a:ext>
            </a:extLst>
          </p:cNvPr>
          <p:cNvSpPr/>
          <p:nvPr/>
        </p:nvSpPr>
        <p:spPr>
          <a:xfrm>
            <a:off x="4406901" y="3094764"/>
            <a:ext cx="7495289" cy="926754"/>
          </a:xfrm>
          <a:prstGeom prst="wedgeRectCallout">
            <a:avLst>
              <a:gd name="adj1" fmla="val -54598"/>
              <a:gd name="adj2" fmla="val -63297"/>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dirty="0">
                <a:solidFill>
                  <a:schemeClr val="bg1"/>
                </a:solidFill>
                <a:latin typeface="Quicksand" panose="020B0604020202020204" charset="0"/>
              </a:rPr>
              <a:t>Professional Experience: This the most important section of the resume. Consulting firms are not interested in what your job was supposed to be; they are interested in what you actually did and what changed because of it.</a:t>
            </a:r>
          </a:p>
          <a:p>
            <a:r>
              <a:rPr lang="en-US" sz="1100" dirty="0">
                <a:solidFill>
                  <a:schemeClr val="bg1"/>
                </a:solidFill>
                <a:latin typeface="Quicksand" panose="020B0604020202020204" charset="0"/>
              </a:rPr>
              <a:t>Each bullet should communicate one clear idea: an action you took, how you approached it, and the outcome. Numbers are powerful because they reduce ambiguity. Structure matters because it shows how you think.</a:t>
            </a:r>
          </a:p>
          <a:p>
            <a:r>
              <a:rPr lang="en-US" sz="1100" dirty="0">
                <a:solidFill>
                  <a:schemeClr val="bg1"/>
                </a:solidFill>
                <a:latin typeface="Quicksand" panose="020B0604020202020204" charset="0"/>
              </a:rPr>
              <a:t>Vague responsibilities, passive language, and generic verbs signal lack of ownership and are often enough to end the review.</a:t>
            </a:r>
          </a:p>
        </p:txBody>
      </p:sp>
      <p:sp>
        <p:nvSpPr>
          <p:cNvPr id="17" name="Speech Bubble: Rectangle 16">
            <a:extLst>
              <a:ext uri="{FF2B5EF4-FFF2-40B4-BE49-F238E27FC236}">
                <a16:creationId xmlns:a16="http://schemas.microsoft.com/office/drawing/2014/main" id="{6B7D3AA5-858F-0B01-44BE-3B537C60AD91}"/>
              </a:ext>
            </a:extLst>
          </p:cNvPr>
          <p:cNvSpPr/>
          <p:nvPr/>
        </p:nvSpPr>
        <p:spPr>
          <a:xfrm>
            <a:off x="4746172" y="5299874"/>
            <a:ext cx="7156018" cy="926754"/>
          </a:xfrm>
          <a:prstGeom prst="wedgeRectCallout">
            <a:avLst>
              <a:gd name="adj1" fmla="val -60641"/>
              <a:gd name="adj2" fmla="val 33731"/>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Quicksand" panose="020B0604020202020204" charset="0"/>
              </a:rPr>
              <a:t>Skills and Interests: Small but Telling. Skills should be limited to what is relevant and credible. Languages, technical tools, and certifications can help if they are real and useful. Inflated skill lists hurt more than they help.</a:t>
            </a:r>
          </a:p>
          <a:p>
            <a:r>
              <a:rPr lang="en-US" sz="1200" dirty="0">
                <a:solidFill>
                  <a:schemeClr val="bg1"/>
                </a:solidFill>
                <a:latin typeface="Quicksand" panose="020B0604020202020204" charset="0"/>
              </a:rPr>
              <a:t>Interests are not filler. They are conversation starters and cultural signals. Specificity matters. Broad, generic interests signal low effort.</a:t>
            </a:r>
          </a:p>
        </p:txBody>
      </p:sp>
      <p:sp>
        <p:nvSpPr>
          <p:cNvPr id="18" name="Speech Bubble: Rectangle 17">
            <a:extLst>
              <a:ext uri="{FF2B5EF4-FFF2-40B4-BE49-F238E27FC236}">
                <a16:creationId xmlns:a16="http://schemas.microsoft.com/office/drawing/2014/main" id="{5A55C6B6-34AB-2982-FAB3-F0C96538EBE1}"/>
              </a:ext>
            </a:extLst>
          </p:cNvPr>
          <p:cNvSpPr/>
          <p:nvPr/>
        </p:nvSpPr>
        <p:spPr>
          <a:xfrm>
            <a:off x="5746751" y="4334706"/>
            <a:ext cx="6155439" cy="651979"/>
          </a:xfrm>
          <a:prstGeom prst="wedgeRectCallout">
            <a:avLst>
              <a:gd name="adj1" fmla="val -77043"/>
              <a:gd name="adj2" fmla="val -2316"/>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dirty="0">
                <a:solidFill>
                  <a:schemeClr val="bg1"/>
                </a:solidFill>
                <a:latin typeface="Quicksand" panose="020B0604020202020204" charset="0"/>
              </a:rPr>
              <a:t>Extracurricular achievements: Extracurricular Activities: Evidence of leadership, initiative, and sustained commitment beyond academics. Focus on roles where you drove outcomes, influenced others, or built something tangible—not passive memberships. </a:t>
            </a:r>
          </a:p>
        </p:txBody>
      </p:sp>
      <p:sp>
        <p:nvSpPr>
          <p:cNvPr id="19" name="Speech Bubble: Rectangle 18">
            <a:extLst>
              <a:ext uri="{FF2B5EF4-FFF2-40B4-BE49-F238E27FC236}">
                <a16:creationId xmlns:a16="http://schemas.microsoft.com/office/drawing/2014/main" id="{2C6A8A19-775B-1F51-654E-20DD4D9C5380}"/>
              </a:ext>
            </a:extLst>
          </p:cNvPr>
          <p:cNvSpPr/>
          <p:nvPr/>
        </p:nvSpPr>
        <p:spPr>
          <a:xfrm>
            <a:off x="5880101" y="2028448"/>
            <a:ext cx="6022089" cy="753128"/>
          </a:xfrm>
          <a:prstGeom prst="wedgeRectCallout">
            <a:avLst>
              <a:gd name="adj1" fmla="val -82625"/>
              <a:gd name="adj2" fmla="val -4356"/>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Quicksand" panose="020B0604020202020204" charset="0"/>
              </a:rPr>
              <a:t>Education matters most early in your career. List your degree, institution, and graduation year clearly. Include your GPA only if it strengthens your profile. Honors and a short list of relevant coursework can help, but only if they reinforce academic rigor. This section should be concise. Its role is to signal capability, not to explain your journey</a:t>
            </a:r>
          </a:p>
        </p:txBody>
      </p:sp>
    </p:spTree>
    <p:extLst>
      <p:ext uri="{BB962C8B-B14F-4D97-AF65-F5344CB8AC3E}">
        <p14:creationId xmlns:p14="http://schemas.microsoft.com/office/powerpoint/2010/main" val="2416233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DD70A-A085-414B-17B7-608CFA1BC91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C41355-1E8F-3E5A-1FCB-23C2256E2C01}"/>
              </a:ext>
            </a:extLst>
          </p:cNvPr>
          <p:cNvGraphicFramePr>
            <a:graphicFrameLocks noChangeAspect="1"/>
          </p:cNvGraphicFramePr>
          <p:nvPr>
            <p:custDataLst>
              <p:tags r:id="rId1"/>
            </p:custDataLst>
            <p:extLst>
              <p:ext uri="{D42A27DB-BD31-4B8C-83A1-F6EECF244321}">
                <p14:modId xmlns:p14="http://schemas.microsoft.com/office/powerpoint/2010/main" val="276525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1DC41355-1E8F-3E5A-1FCB-23C2256E2C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9C986F-6213-9E81-4FC2-8ED2E5D3DFA5}"/>
              </a:ext>
            </a:extLst>
          </p:cNvPr>
          <p:cNvSpPr>
            <a:spLocks noGrp="1"/>
          </p:cNvSpPr>
          <p:nvPr>
            <p:ph type="title"/>
          </p:nvPr>
        </p:nvSpPr>
        <p:spPr/>
        <p:txBody>
          <a:bodyPr vert="horz"/>
          <a:lstStyle/>
          <a:p>
            <a:r>
              <a:rPr lang="en-US" dirty="0"/>
              <a:t>01 – Consulting Resume: </a:t>
            </a:r>
            <a:r>
              <a:rPr lang="en-US" b="0" dirty="0"/>
              <a:t>Quick Tips</a:t>
            </a:r>
          </a:p>
        </p:txBody>
      </p:sp>
      <p:sp>
        <p:nvSpPr>
          <p:cNvPr id="6" name="Rectangle 5">
            <a:extLst>
              <a:ext uri="{FF2B5EF4-FFF2-40B4-BE49-F238E27FC236}">
                <a16:creationId xmlns:a16="http://schemas.microsoft.com/office/drawing/2014/main" id="{507CE0FF-BA25-DA90-F568-0EFE33BE8FA2}"/>
              </a:ext>
            </a:extLst>
          </p:cNvPr>
          <p:cNvSpPr/>
          <p:nvPr/>
        </p:nvSpPr>
        <p:spPr>
          <a:xfrm>
            <a:off x="838199" y="1964871"/>
            <a:ext cx="10907013" cy="16926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Strong bullets start with action and end with impact. They are concise, specific, and structured. They avoid adjectives and focus on results. If a bullet cannot answer “So what?”, it does not belong on the resu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Consultants look for evidence of problem-solving, analysis, decision-making, and responsibility. Tools and methods only matter if they directly support these signals</a:t>
            </a:r>
          </a:p>
        </p:txBody>
      </p:sp>
      <p:sp>
        <p:nvSpPr>
          <p:cNvPr id="12" name="Rectangle: Rounded Corners 11">
            <a:extLst>
              <a:ext uri="{FF2B5EF4-FFF2-40B4-BE49-F238E27FC236}">
                <a16:creationId xmlns:a16="http://schemas.microsoft.com/office/drawing/2014/main" id="{D008AB62-D5C5-85FB-32A0-51282765C544}"/>
              </a:ext>
            </a:extLst>
          </p:cNvPr>
          <p:cNvSpPr/>
          <p:nvPr/>
        </p:nvSpPr>
        <p:spPr>
          <a:xfrm>
            <a:off x="725240" y="1560767"/>
            <a:ext cx="5370759" cy="366003"/>
          </a:xfrm>
          <a:prstGeom prst="round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Quicksand"/>
              </a:rPr>
              <a:t>Writing Strong Points</a:t>
            </a:r>
            <a:endParaRPr kumimoji="0" lang="en-US" sz="2000" b="1" i="0" u="none" strike="noStrike" kern="1200" cap="none" spc="0" normalizeH="0" baseline="0" noProof="0" dirty="0">
              <a:ln>
                <a:noFill/>
              </a:ln>
              <a:solidFill>
                <a:prstClr val="white"/>
              </a:solidFill>
              <a:effectLst/>
              <a:uLnTx/>
              <a:uFillTx/>
              <a:latin typeface="Quicksand"/>
              <a:ea typeface="+mn-ea"/>
              <a:cs typeface="+mn-cs"/>
            </a:endParaRPr>
          </a:p>
        </p:txBody>
      </p:sp>
      <p:sp>
        <p:nvSpPr>
          <p:cNvPr id="13" name="Rectangle: Rounded Corners 12">
            <a:extLst>
              <a:ext uri="{FF2B5EF4-FFF2-40B4-BE49-F238E27FC236}">
                <a16:creationId xmlns:a16="http://schemas.microsoft.com/office/drawing/2014/main" id="{5F818B59-2B6C-2886-DAF6-2E62A3518443}"/>
              </a:ext>
            </a:extLst>
          </p:cNvPr>
          <p:cNvSpPr/>
          <p:nvPr/>
        </p:nvSpPr>
        <p:spPr>
          <a:xfrm>
            <a:off x="725239" y="3990648"/>
            <a:ext cx="5370759" cy="366003"/>
          </a:xfrm>
          <a:prstGeom prst="round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Quicksand"/>
              </a:rPr>
              <a:t>Common Mistakes</a:t>
            </a:r>
            <a:endParaRPr kumimoji="0" lang="en-US" sz="2000" b="1" i="0" u="none" strike="noStrike" kern="1200" cap="none" spc="0" normalizeH="0" baseline="0" noProof="0" dirty="0">
              <a:ln>
                <a:noFill/>
              </a:ln>
              <a:solidFill>
                <a:prstClr val="white"/>
              </a:solidFill>
              <a:effectLst/>
              <a:uLnTx/>
              <a:uFillTx/>
              <a:latin typeface="Quicksand"/>
              <a:ea typeface="+mn-ea"/>
              <a:cs typeface="+mn-cs"/>
            </a:endParaRPr>
          </a:p>
        </p:txBody>
      </p:sp>
      <p:sp>
        <p:nvSpPr>
          <p:cNvPr id="15" name="Rectangle 14">
            <a:extLst>
              <a:ext uri="{FF2B5EF4-FFF2-40B4-BE49-F238E27FC236}">
                <a16:creationId xmlns:a16="http://schemas.microsoft.com/office/drawing/2014/main" id="{AEA14317-84F6-DF39-D0D3-166EBEE4F043}"/>
              </a:ext>
            </a:extLst>
          </p:cNvPr>
          <p:cNvSpPr/>
          <p:nvPr/>
        </p:nvSpPr>
        <p:spPr>
          <a:xfrm>
            <a:off x="838199" y="4399325"/>
            <a:ext cx="10907013" cy="16926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Most resumes are rejected not because the candidate is weak, but because the resume is nois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Long paragraphs, inconsistent formatting, buzzwords without evidence, and spelling mistakes are all signs of poor judg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E6246"/>
              </a:solidFill>
              <a:latin typeface="Quicksand" panose="020B060402020202020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E6246"/>
                </a:solidFill>
                <a:latin typeface="Quicksand" panose="020B0604020202020204" charset="0"/>
              </a:rPr>
              <a:t>A consulting resume should feel calm, deliberate, and easy to read.</a:t>
            </a:r>
          </a:p>
        </p:txBody>
      </p:sp>
    </p:spTree>
    <p:extLst>
      <p:ext uri="{BB962C8B-B14F-4D97-AF65-F5344CB8AC3E}">
        <p14:creationId xmlns:p14="http://schemas.microsoft.com/office/powerpoint/2010/main" val="1032418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87752-ACBD-E92F-5B7A-C45DCBE7E0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1D32EF-D96F-DE17-5539-3DB8B398AE38}"/>
              </a:ext>
            </a:extLst>
          </p:cNvPr>
          <p:cNvGraphicFramePr>
            <a:graphicFrameLocks noChangeAspect="1"/>
          </p:cNvGraphicFramePr>
          <p:nvPr>
            <p:custDataLst>
              <p:tags r:id="rId1"/>
            </p:custDataLst>
            <p:extLst>
              <p:ext uri="{D42A27DB-BD31-4B8C-83A1-F6EECF244321}">
                <p14:modId xmlns:p14="http://schemas.microsoft.com/office/powerpoint/2010/main" val="178219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541D32EF-D96F-DE17-5539-3DB8B398AE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9E0905-3F85-EF10-B132-5ED1F63B5CFF}"/>
              </a:ext>
            </a:extLst>
          </p:cNvPr>
          <p:cNvSpPr>
            <a:spLocks noGrp="1"/>
          </p:cNvSpPr>
          <p:nvPr>
            <p:ph type="title"/>
          </p:nvPr>
        </p:nvSpPr>
        <p:spPr/>
        <p:txBody>
          <a:bodyPr vert="horz"/>
          <a:lstStyle/>
          <a:p>
            <a:r>
              <a:rPr lang="en-US" dirty="0"/>
              <a:t>02 – Consulting Cover Letter: </a:t>
            </a:r>
            <a:r>
              <a:rPr lang="en-US" b="0" dirty="0"/>
              <a:t>Introduction</a:t>
            </a:r>
          </a:p>
        </p:txBody>
      </p:sp>
      <p:sp>
        <p:nvSpPr>
          <p:cNvPr id="10" name="Rectangle 9">
            <a:extLst>
              <a:ext uri="{FF2B5EF4-FFF2-40B4-BE49-F238E27FC236}">
                <a16:creationId xmlns:a16="http://schemas.microsoft.com/office/drawing/2014/main" id="{3FBE9485-656E-567A-967B-3C87C228157E}"/>
              </a:ext>
            </a:extLst>
          </p:cNvPr>
          <p:cNvSpPr/>
          <p:nvPr/>
        </p:nvSpPr>
        <p:spPr>
          <a:xfrm>
            <a:off x="838200" y="1964871"/>
            <a:ext cx="5257800" cy="40469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lang="en-US" dirty="0">
                <a:solidFill>
                  <a:srgbClr val="5E6246"/>
                </a:solidFill>
                <a:latin typeface="Quicksand" panose="020B0604020202020204" charset="0"/>
              </a:rPr>
              <a:t>Not all firms require cover letters, but when they do, the bar is high. </a:t>
            </a:r>
          </a:p>
          <a:p>
            <a:pPr marR="0" lvl="0" algn="l" defTabSz="914400" rtl="0" eaLnBrk="1" fontAlgn="auto" latinLnBrk="0" hangingPunct="1">
              <a:lnSpc>
                <a:spcPct val="100000"/>
              </a:lnSpc>
              <a:spcBef>
                <a:spcPts val="0"/>
              </a:spcBef>
              <a:spcAft>
                <a:spcPts val="0"/>
              </a:spcAft>
              <a:buClrTx/>
              <a:buSzTx/>
              <a:tabLst/>
              <a:defRPr/>
            </a:pPr>
            <a:endParaRPr lang="en-US" dirty="0">
              <a:solidFill>
                <a:srgbClr val="5E6246"/>
              </a:solidFill>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lang="en-US" dirty="0">
                <a:solidFill>
                  <a:srgbClr val="5E6246"/>
                </a:solidFill>
                <a:latin typeface="Quicksand" panose="020B0604020202020204" charset="0"/>
              </a:rPr>
              <a:t>A cover letter is not a personal essay. It is a structured argument </a:t>
            </a:r>
            <a:r>
              <a:rPr lang="en-US" b="1" dirty="0">
                <a:solidFill>
                  <a:srgbClr val="5E6246"/>
                </a:solidFill>
                <a:latin typeface="Quicksand" panose="020B0604020202020204" charset="0"/>
              </a:rPr>
              <a:t>explaining why consulting makes sense for you, why you make sense for consulting, and why this firm in particular.</a:t>
            </a:r>
          </a:p>
          <a:p>
            <a:pPr marR="0" lvl="0" algn="l" defTabSz="914400" rtl="0" eaLnBrk="1" fontAlgn="auto" latinLnBrk="0" hangingPunct="1">
              <a:lnSpc>
                <a:spcPct val="100000"/>
              </a:lnSpc>
              <a:spcBef>
                <a:spcPts val="0"/>
              </a:spcBef>
              <a:spcAft>
                <a:spcPts val="0"/>
              </a:spcAft>
              <a:buClrTx/>
              <a:buSzTx/>
              <a:tabLst/>
              <a:defRPr/>
            </a:pPr>
            <a:endParaRPr lang="en-US" dirty="0">
              <a:solidFill>
                <a:srgbClr val="5E6246"/>
              </a:solidFill>
              <a:latin typeface="Quicksand" panose="020B0604020202020204" charset="0"/>
            </a:endParaRPr>
          </a:p>
          <a:p>
            <a:pPr marR="0" lvl="0" algn="l" defTabSz="914400" rtl="0" eaLnBrk="1" fontAlgn="auto" latinLnBrk="0" hangingPunct="1">
              <a:lnSpc>
                <a:spcPct val="100000"/>
              </a:lnSpc>
              <a:spcBef>
                <a:spcPts val="0"/>
              </a:spcBef>
              <a:spcAft>
                <a:spcPts val="0"/>
              </a:spcAft>
              <a:buClrTx/>
              <a:buSzTx/>
              <a:tabLst/>
              <a:defRPr/>
            </a:pPr>
            <a:r>
              <a:rPr lang="en-US" dirty="0">
                <a:solidFill>
                  <a:srgbClr val="5E6246"/>
                </a:solidFill>
                <a:latin typeface="Quicksand" panose="020B0604020202020204" charset="0"/>
              </a:rPr>
              <a:t>Anything outside of this logic weakens the message</a:t>
            </a:r>
            <a:endParaRPr kumimoji="0" lang="en-US" sz="1800" i="0" u="none" strike="noStrike" kern="1200" cap="none" spc="0" normalizeH="0" baseline="0" noProof="0" dirty="0">
              <a:ln>
                <a:noFill/>
              </a:ln>
              <a:solidFill>
                <a:srgbClr val="5E6246"/>
              </a:solidFill>
              <a:effectLst/>
              <a:uLnTx/>
              <a:uFillTx/>
              <a:latin typeface="Quicksand" panose="020B0604020202020204" charset="0"/>
            </a:endParaRPr>
          </a:p>
        </p:txBody>
      </p:sp>
      <p:sp>
        <p:nvSpPr>
          <p:cNvPr id="11" name="Rectangle: Rounded Corners 10">
            <a:extLst>
              <a:ext uri="{FF2B5EF4-FFF2-40B4-BE49-F238E27FC236}">
                <a16:creationId xmlns:a16="http://schemas.microsoft.com/office/drawing/2014/main" id="{5ED220B8-23BF-562E-5CE6-E24BB0022B8F}"/>
              </a:ext>
            </a:extLst>
          </p:cNvPr>
          <p:cNvSpPr/>
          <p:nvPr/>
        </p:nvSpPr>
        <p:spPr>
          <a:xfrm>
            <a:off x="725240" y="1560767"/>
            <a:ext cx="5370759" cy="366003"/>
          </a:xfrm>
          <a:prstGeom prst="round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Quicksand"/>
                <a:ea typeface="+mn-ea"/>
                <a:cs typeface="+mn-cs"/>
              </a:rPr>
              <a:t>The Cover Letter: A Short Business Case</a:t>
            </a:r>
            <a:endParaRPr kumimoji="0" lang="en-US" sz="2000" b="1" i="0" u="none" strike="noStrike" kern="1200" cap="none" spc="0" normalizeH="0" baseline="0" noProof="0" dirty="0">
              <a:ln>
                <a:noFill/>
              </a:ln>
              <a:solidFill>
                <a:prstClr val="white"/>
              </a:solidFill>
              <a:effectLst/>
              <a:uLnTx/>
              <a:uFillTx/>
              <a:latin typeface="Quicksand"/>
              <a:ea typeface="+mn-ea"/>
              <a:cs typeface="+mn-cs"/>
            </a:endParaRPr>
          </a:p>
        </p:txBody>
      </p:sp>
      <p:grpSp>
        <p:nvGrpSpPr>
          <p:cNvPr id="31" name="Group 30">
            <a:extLst>
              <a:ext uri="{FF2B5EF4-FFF2-40B4-BE49-F238E27FC236}">
                <a16:creationId xmlns:a16="http://schemas.microsoft.com/office/drawing/2014/main" id="{663D52F8-D44B-81B4-284C-D6E40C31D0A2}"/>
              </a:ext>
            </a:extLst>
          </p:cNvPr>
          <p:cNvGrpSpPr/>
          <p:nvPr/>
        </p:nvGrpSpPr>
        <p:grpSpPr>
          <a:xfrm>
            <a:off x="6857996" y="2891416"/>
            <a:ext cx="4014351" cy="2221174"/>
            <a:chOff x="7226490" y="3428998"/>
            <a:chExt cx="4014351" cy="2221174"/>
          </a:xfrm>
        </p:grpSpPr>
        <p:grpSp>
          <p:nvGrpSpPr>
            <p:cNvPr id="28" name="Group 27">
              <a:extLst>
                <a:ext uri="{FF2B5EF4-FFF2-40B4-BE49-F238E27FC236}">
                  <a16:creationId xmlns:a16="http://schemas.microsoft.com/office/drawing/2014/main" id="{F7CDA64B-6820-1DCC-8D25-0E9EE8B564F6}"/>
                </a:ext>
              </a:extLst>
            </p:cNvPr>
            <p:cNvGrpSpPr/>
            <p:nvPr/>
          </p:nvGrpSpPr>
          <p:grpSpPr>
            <a:xfrm>
              <a:off x="7226492" y="3428998"/>
              <a:ext cx="4014349" cy="630007"/>
              <a:chOff x="7226492" y="3428999"/>
              <a:chExt cx="4014349" cy="375248"/>
            </a:xfrm>
          </p:grpSpPr>
          <p:sp>
            <p:nvSpPr>
              <p:cNvPr id="14" name="Rectangle: Rounded Corners 13">
                <a:extLst>
                  <a:ext uri="{FF2B5EF4-FFF2-40B4-BE49-F238E27FC236}">
                    <a16:creationId xmlns:a16="http://schemas.microsoft.com/office/drawing/2014/main" id="{C27DEE4E-43FD-DA35-E30A-2BB4F751EFB0}"/>
                  </a:ext>
                </a:extLst>
              </p:cNvPr>
              <p:cNvSpPr/>
              <p:nvPr/>
            </p:nvSpPr>
            <p:spPr>
              <a:xfrm>
                <a:off x="7226492" y="3428999"/>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sz="1400" b="1" dirty="0">
                    <a:solidFill>
                      <a:srgbClr val="4E5139"/>
                    </a:solidFill>
                    <a:latin typeface="Quicksand" panose="020B0604020202020204" charset="0"/>
                  </a:rPr>
                  <a:t>Why Consulting?</a:t>
                </a:r>
              </a:p>
            </p:txBody>
          </p:sp>
          <p:cxnSp>
            <p:nvCxnSpPr>
              <p:cNvPr id="19" name="Straight Connector 18">
                <a:extLst>
                  <a:ext uri="{FF2B5EF4-FFF2-40B4-BE49-F238E27FC236}">
                    <a16:creationId xmlns:a16="http://schemas.microsoft.com/office/drawing/2014/main" id="{EAE95D70-B625-E94F-E22E-92C29250913B}"/>
                  </a:ext>
                </a:extLst>
              </p:cNvPr>
              <p:cNvCxnSpPr>
                <a:cxnSpLocks/>
                <a:stCxn id="14" idx="1"/>
              </p:cNvCxnSpPr>
              <p:nvPr/>
            </p:nvCxnSpPr>
            <p:spPr>
              <a:xfrm>
                <a:off x="7226492" y="3616623"/>
                <a:ext cx="1047561"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32FBB0B2-F08C-1D1C-A4F1-67DCD8145724}"/>
                </a:ext>
              </a:extLst>
            </p:cNvPr>
            <p:cNvGrpSpPr/>
            <p:nvPr/>
          </p:nvGrpSpPr>
          <p:grpSpPr>
            <a:xfrm>
              <a:off x="7226491" y="4224582"/>
              <a:ext cx="4014349" cy="630007"/>
              <a:chOff x="7226491" y="4224583"/>
              <a:chExt cx="4014349" cy="375248"/>
            </a:xfrm>
          </p:grpSpPr>
          <p:sp>
            <p:nvSpPr>
              <p:cNvPr id="16" name="Rectangle: Rounded Corners 15">
                <a:extLst>
                  <a:ext uri="{FF2B5EF4-FFF2-40B4-BE49-F238E27FC236}">
                    <a16:creationId xmlns:a16="http://schemas.microsoft.com/office/drawing/2014/main" id="{F9E676BC-0031-ECEE-20F1-D230DE01DB72}"/>
                  </a:ext>
                </a:extLst>
              </p:cNvPr>
              <p:cNvSpPr/>
              <p:nvPr/>
            </p:nvSpPr>
            <p:spPr>
              <a:xfrm>
                <a:off x="7226491" y="4224583"/>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sz="1400" b="1" dirty="0">
                    <a:solidFill>
                      <a:srgbClr val="4E5139"/>
                    </a:solidFill>
                    <a:latin typeface="Quicksand" panose="020B0604020202020204" charset="0"/>
                  </a:rPr>
                  <a:t>Why You?</a:t>
                </a:r>
              </a:p>
            </p:txBody>
          </p:sp>
          <p:cxnSp>
            <p:nvCxnSpPr>
              <p:cNvPr id="21" name="Straight Connector 20">
                <a:extLst>
                  <a:ext uri="{FF2B5EF4-FFF2-40B4-BE49-F238E27FC236}">
                    <a16:creationId xmlns:a16="http://schemas.microsoft.com/office/drawing/2014/main" id="{0AE8CF5D-1F19-77F0-2810-53F00892310D}"/>
                  </a:ext>
                </a:extLst>
              </p:cNvPr>
              <p:cNvCxnSpPr>
                <a:cxnSpLocks/>
              </p:cNvCxnSpPr>
              <p:nvPr/>
            </p:nvCxnSpPr>
            <p:spPr>
              <a:xfrm>
                <a:off x="7226492" y="4412207"/>
                <a:ext cx="1047562"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90AF7E9D-8B79-9185-9315-8C06B53A232C}"/>
                </a:ext>
              </a:extLst>
            </p:cNvPr>
            <p:cNvGrpSpPr/>
            <p:nvPr/>
          </p:nvGrpSpPr>
          <p:grpSpPr>
            <a:xfrm>
              <a:off x="7226490" y="5020165"/>
              <a:ext cx="4014349" cy="630007"/>
              <a:chOff x="7226490" y="5020166"/>
              <a:chExt cx="4014349" cy="375248"/>
            </a:xfrm>
          </p:grpSpPr>
          <p:sp>
            <p:nvSpPr>
              <p:cNvPr id="17" name="Rectangle: Rounded Corners 16">
                <a:extLst>
                  <a:ext uri="{FF2B5EF4-FFF2-40B4-BE49-F238E27FC236}">
                    <a16:creationId xmlns:a16="http://schemas.microsoft.com/office/drawing/2014/main" id="{B9C35FC1-72AE-7CD8-10E7-E38C4D82FF31}"/>
                  </a:ext>
                </a:extLst>
              </p:cNvPr>
              <p:cNvSpPr/>
              <p:nvPr/>
            </p:nvSpPr>
            <p:spPr>
              <a:xfrm>
                <a:off x="7226490" y="5020166"/>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sz="1400" b="1" dirty="0">
                    <a:solidFill>
                      <a:srgbClr val="4E5139"/>
                    </a:solidFill>
                    <a:latin typeface="Quicksand" panose="020B0604020202020204" charset="0"/>
                  </a:rPr>
                  <a:t>Why This Firm?</a:t>
                </a:r>
              </a:p>
            </p:txBody>
          </p:sp>
          <p:cxnSp>
            <p:nvCxnSpPr>
              <p:cNvPr id="25" name="Straight Connector 24">
                <a:extLst>
                  <a:ext uri="{FF2B5EF4-FFF2-40B4-BE49-F238E27FC236}">
                    <a16:creationId xmlns:a16="http://schemas.microsoft.com/office/drawing/2014/main" id="{53DE6AD8-30D5-35AF-1624-658343D2AF9F}"/>
                  </a:ext>
                </a:extLst>
              </p:cNvPr>
              <p:cNvCxnSpPr>
                <a:cxnSpLocks/>
              </p:cNvCxnSpPr>
              <p:nvPr/>
            </p:nvCxnSpPr>
            <p:spPr>
              <a:xfrm>
                <a:off x="7226492" y="5207790"/>
                <a:ext cx="1047562"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sp>
        <p:nvSpPr>
          <p:cNvPr id="32" name="Left Brace 31">
            <a:extLst>
              <a:ext uri="{FF2B5EF4-FFF2-40B4-BE49-F238E27FC236}">
                <a16:creationId xmlns:a16="http://schemas.microsoft.com/office/drawing/2014/main" id="{EFCFF22F-70D8-BC67-7C0F-5D4E8B99FAF0}"/>
              </a:ext>
            </a:extLst>
          </p:cNvPr>
          <p:cNvSpPr/>
          <p:nvPr/>
        </p:nvSpPr>
        <p:spPr>
          <a:xfrm>
            <a:off x="6172300" y="2238029"/>
            <a:ext cx="1351128" cy="3500651"/>
          </a:xfrm>
          <a:prstGeom prst="leftBrace">
            <a:avLst>
              <a:gd name="adj1" fmla="val 0"/>
              <a:gd name="adj2" fmla="val 50390"/>
            </a:avLst>
          </a:prstGeom>
          <a:ln>
            <a:solidFill>
              <a:srgbClr val="4E5139"/>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81417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4BD80-E827-925A-8381-7522306B3FB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4157B3-9324-6242-BA9C-10191747D6AC}"/>
              </a:ext>
            </a:extLst>
          </p:cNvPr>
          <p:cNvGraphicFramePr>
            <a:graphicFrameLocks noChangeAspect="1"/>
          </p:cNvGraphicFramePr>
          <p:nvPr>
            <p:custDataLst>
              <p:tags r:id="rId1"/>
            </p:custDataLst>
            <p:extLst>
              <p:ext uri="{D42A27DB-BD31-4B8C-83A1-F6EECF244321}">
                <p14:modId xmlns:p14="http://schemas.microsoft.com/office/powerpoint/2010/main" val="387102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E64157B3-9324-6242-BA9C-10191747D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B9143B-A4C9-10D4-0C85-9DAC96973CAC}"/>
              </a:ext>
            </a:extLst>
          </p:cNvPr>
          <p:cNvSpPr>
            <a:spLocks noGrp="1"/>
          </p:cNvSpPr>
          <p:nvPr>
            <p:ph type="title"/>
          </p:nvPr>
        </p:nvSpPr>
        <p:spPr/>
        <p:txBody>
          <a:bodyPr vert="horz"/>
          <a:lstStyle/>
          <a:p>
            <a:r>
              <a:rPr lang="en-US" dirty="0"/>
              <a:t>02 – Consulting Cover Letter: </a:t>
            </a:r>
            <a:r>
              <a:rPr lang="en-US" b="0" dirty="0"/>
              <a:t>Components</a:t>
            </a:r>
          </a:p>
        </p:txBody>
      </p:sp>
      <p:grpSp>
        <p:nvGrpSpPr>
          <p:cNvPr id="12" name="Group 11">
            <a:extLst>
              <a:ext uri="{FF2B5EF4-FFF2-40B4-BE49-F238E27FC236}">
                <a16:creationId xmlns:a16="http://schemas.microsoft.com/office/drawing/2014/main" id="{E9CA80B4-55BB-AE79-C26A-183E78B4B3E4}"/>
              </a:ext>
            </a:extLst>
          </p:cNvPr>
          <p:cNvGrpSpPr/>
          <p:nvPr/>
        </p:nvGrpSpPr>
        <p:grpSpPr>
          <a:xfrm>
            <a:off x="725241" y="1562099"/>
            <a:ext cx="10916299" cy="3727919"/>
            <a:chOff x="725241" y="1562100"/>
            <a:chExt cx="10916299" cy="4285396"/>
          </a:xfrm>
        </p:grpSpPr>
        <p:grpSp>
          <p:nvGrpSpPr>
            <p:cNvPr id="31" name="Group 30">
              <a:extLst>
                <a:ext uri="{FF2B5EF4-FFF2-40B4-BE49-F238E27FC236}">
                  <a16:creationId xmlns:a16="http://schemas.microsoft.com/office/drawing/2014/main" id="{EDD28FD8-4DAB-7484-33C7-47A27D93C3A2}"/>
                </a:ext>
              </a:extLst>
            </p:cNvPr>
            <p:cNvGrpSpPr/>
            <p:nvPr/>
          </p:nvGrpSpPr>
          <p:grpSpPr>
            <a:xfrm>
              <a:off x="725241" y="1562100"/>
              <a:ext cx="4014351" cy="4285396"/>
              <a:chOff x="7226490" y="3428998"/>
              <a:chExt cx="4014351" cy="2221174"/>
            </a:xfrm>
          </p:grpSpPr>
          <p:grpSp>
            <p:nvGrpSpPr>
              <p:cNvPr id="28" name="Group 27">
                <a:extLst>
                  <a:ext uri="{FF2B5EF4-FFF2-40B4-BE49-F238E27FC236}">
                    <a16:creationId xmlns:a16="http://schemas.microsoft.com/office/drawing/2014/main" id="{EC1C3284-50D1-C6CB-7717-81669D0D1DAC}"/>
                  </a:ext>
                </a:extLst>
              </p:cNvPr>
              <p:cNvGrpSpPr/>
              <p:nvPr/>
            </p:nvGrpSpPr>
            <p:grpSpPr>
              <a:xfrm>
                <a:off x="7226492" y="3428998"/>
                <a:ext cx="4014349" cy="630007"/>
                <a:chOff x="7226492" y="3428999"/>
                <a:chExt cx="4014349" cy="375248"/>
              </a:xfrm>
            </p:grpSpPr>
            <p:sp>
              <p:nvSpPr>
                <p:cNvPr id="14" name="Rectangle: Rounded Corners 13">
                  <a:extLst>
                    <a:ext uri="{FF2B5EF4-FFF2-40B4-BE49-F238E27FC236}">
                      <a16:creationId xmlns:a16="http://schemas.microsoft.com/office/drawing/2014/main" id="{B057EF07-AA96-DE6D-C442-D1FED3850330}"/>
                    </a:ext>
                  </a:extLst>
                </p:cNvPr>
                <p:cNvSpPr/>
                <p:nvPr/>
              </p:nvSpPr>
              <p:spPr>
                <a:xfrm>
                  <a:off x="7226492" y="3428999"/>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b="1" dirty="0">
                      <a:solidFill>
                        <a:srgbClr val="4E5139"/>
                      </a:solidFill>
                      <a:latin typeface="Quicksand" panose="020B0604020202020204" charset="0"/>
                    </a:rPr>
                    <a:t>Why Consulting?</a:t>
                  </a:r>
                </a:p>
              </p:txBody>
            </p:sp>
            <p:cxnSp>
              <p:nvCxnSpPr>
                <p:cNvPr id="19" name="Straight Connector 18">
                  <a:extLst>
                    <a:ext uri="{FF2B5EF4-FFF2-40B4-BE49-F238E27FC236}">
                      <a16:creationId xmlns:a16="http://schemas.microsoft.com/office/drawing/2014/main" id="{65EDE2DE-D4D0-B0C1-610F-6319994445C2}"/>
                    </a:ext>
                  </a:extLst>
                </p:cNvPr>
                <p:cNvCxnSpPr>
                  <a:stCxn id="14" idx="1"/>
                </p:cNvCxnSpPr>
                <p:nvPr/>
              </p:nvCxnSpPr>
              <p:spPr>
                <a:xfrm>
                  <a:off x="7226492" y="3616623"/>
                  <a:ext cx="1047561"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3E84822F-6850-F047-D34C-C2B4EF8800F7}"/>
                  </a:ext>
                </a:extLst>
              </p:cNvPr>
              <p:cNvGrpSpPr/>
              <p:nvPr/>
            </p:nvGrpSpPr>
            <p:grpSpPr>
              <a:xfrm>
                <a:off x="7226491" y="4224582"/>
                <a:ext cx="4014349" cy="630007"/>
                <a:chOff x="7226491" y="4224583"/>
                <a:chExt cx="4014349" cy="375248"/>
              </a:xfrm>
            </p:grpSpPr>
            <p:sp>
              <p:nvSpPr>
                <p:cNvPr id="16" name="Rectangle: Rounded Corners 15">
                  <a:extLst>
                    <a:ext uri="{FF2B5EF4-FFF2-40B4-BE49-F238E27FC236}">
                      <a16:creationId xmlns:a16="http://schemas.microsoft.com/office/drawing/2014/main" id="{0DC9E129-82E9-1841-0981-2EC9889DEEBF}"/>
                    </a:ext>
                  </a:extLst>
                </p:cNvPr>
                <p:cNvSpPr/>
                <p:nvPr/>
              </p:nvSpPr>
              <p:spPr>
                <a:xfrm>
                  <a:off x="7226491" y="4224583"/>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b="1" dirty="0">
                      <a:solidFill>
                        <a:srgbClr val="4E5139"/>
                      </a:solidFill>
                      <a:latin typeface="Quicksand" panose="020B0604020202020204" charset="0"/>
                    </a:rPr>
                    <a:t>Why You?</a:t>
                  </a:r>
                </a:p>
              </p:txBody>
            </p:sp>
            <p:cxnSp>
              <p:nvCxnSpPr>
                <p:cNvPr id="21" name="Straight Connector 20">
                  <a:extLst>
                    <a:ext uri="{FF2B5EF4-FFF2-40B4-BE49-F238E27FC236}">
                      <a16:creationId xmlns:a16="http://schemas.microsoft.com/office/drawing/2014/main" id="{5DA3AAEA-3ABA-321B-E17E-DEA467BED1CA}"/>
                    </a:ext>
                  </a:extLst>
                </p:cNvPr>
                <p:cNvCxnSpPr/>
                <p:nvPr/>
              </p:nvCxnSpPr>
              <p:spPr>
                <a:xfrm>
                  <a:off x="7226492" y="4412207"/>
                  <a:ext cx="1047562"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98A66211-AB4B-1729-75A5-A8B9D0458068}"/>
                  </a:ext>
                </a:extLst>
              </p:cNvPr>
              <p:cNvGrpSpPr/>
              <p:nvPr/>
            </p:nvGrpSpPr>
            <p:grpSpPr>
              <a:xfrm>
                <a:off x="7226490" y="5020165"/>
                <a:ext cx="4014349" cy="630007"/>
                <a:chOff x="7226490" y="5020166"/>
                <a:chExt cx="4014349" cy="375248"/>
              </a:xfrm>
            </p:grpSpPr>
            <p:sp>
              <p:nvSpPr>
                <p:cNvPr id="17" name="Rectangle: Rounded Corners 16">
                  <a:extLst>
                    <a:ext uri="{FF2B5EF4-FFF2-40B4-BE49-F238E27FC236}">
                      <a16:creationId xmlns:a16="http://schemas.microsoft.com/office/drawing/2014/main" id="{1FBEA93B-B97F-D1B1-0BF5-424C9C3489F8}"/>
                    </a:ext>
                  </a:extLst>
                </p:cNvPr>
                <p:cNvSpPr/>
                <p:nvPr/>
              </p:nvSpPr>
              <p:spPr>
                <a:xfrm>
                  <a:off x="7226490" y="5020166"/>
                  <a:ext cx="4014349" cy="375248"/>
                </a:xfrm>
                <a:prstGeom prst="roundRect">
                  <a:avLst/>
                </a:prstGeom>
                <a:solidFill>
                  <a:srgbClr val="CBCEBA"/>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tlCol="0" anchor="ctr"/>
                <a:lstStyle/>
                <a:p>
                  <a:pPr marL="285750" indent="-285750">
                    <a:buFont typeface="Wingdings" panose="05000000000000000000" pitchFamily="2" charset="2"/>
                    <a:buChar char="q"/>
                  </a:pPr>
                  <a:r>
                    <a:rPr lang="en-US" b="1" dirty="0">
                      <a:solidFill>
                        <a:srgbClr val="4E5139"/>
                      </a:solidFill>
                      <a:latin typeface="Quicksand" panose="020B0604020202020204" charset="0"/>
                    </a:rPr>
                    <a:t>Why This Firm?</a:t>
                  </a:r>
                </a:p>
              </p:txBody>
            </p:sp>
            <p:cxnSp>
              <p:nvCxnSpPr>
                <p:cNvPr id="25" name="Straight Connector 24">
                  <a:extLst>
                    <a:ext uri="{FF2B5EF4-FFF2-40B4-BE49-F238E27FC236}">
                      <a16:creationId xmlns:a16="http://schemas.microsoft.com/office/drawing/2014/main" id="{F78E844D-98B3-39D8-9B6B-C56680A49B3D}"/>
                    </a:ext>
                  </a:extLst>
                </p:cNvPr>
                <p:cNvCxnSpPr/>
                <p:nvPr/>
              </p:nvCxnSpPr>
              <p:spPr>
                <a:xfrm>
                  <a:off x="7226492" y="5207790"/>
                  <a:ext cx="1047562" cy="0"/>
                </a:xfrm>
                <a:prstGeom prst="line">
                  <a:avLst/>
                </a:prstGeom>
                <a:ln>
                  <a:solidFill>
                    <a:srgbClr val="4E5139"/>
                  </a:solidFill>
                </a:ln>
              </p:spPr>
              <p:style>
                <a:lnRef idx="2">
                  <a:schemeClr val="accent1"/>
                </a:lnRef>
                <a:fillRef idx="0">
                  <a:schemeClr val="accent1"/>
                </a:fillRef>
                <a:effectRef idx="1">
                  <a:schemeClr val="accent1"/>
                </a:effectRef>
                <a:fontRef idx="minor">
                  <a:schemeClr val="tx1"/>
                </a:fontRef>
              </p:style>
            </p:cxnSp>
          </p:grpSp>
        </p:grpSp>
        <p:sp>
          <p:nvSpPr>
            <p:cNvPr id="7" name="Rectangle 6">
              <a:extLst>
                <a:ext uri="{FF2B5EF4-FFF2-40B4-BE49-F238E27FC236}">
                  <a16:creationId xmlns:a16="http://schemas.microsoft.com/office/drawing/2014/main" id="{18011387-F3EC-CDF0-2C1A-41A24CC12EED}"/>
                </a:ext>
              </a:extLst>
            </p:cNvPr>
            <p:cNvSpPr/>
            <p:nvPr/>
          </p:nvSpPr>
          <p:spPr>
            <a:xfrm>
              <a:off x="4926842" y="1562100"/>
              <a:ext cx="6714698" cy="1215497"/>
            </a:xfrm>
            <a:prstGeom prst="rect">
              <a:avLst/>
            </a:prstGeom>
            <a:solidFill>
              <a:srgbClr val="F9F2D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rgbClr val="4E5139"/>
                  </a:solidFill>
                  <a:latin typeface="Quicksand" panose="020B0604020202020204" charset="0"/>
                </a:rPr>
                <a:t>The first paragraph should explain your </a:t>
              </a:r>
              <a:r>
                <a:rPr lang="en-US" sz="1400" b="1" dirty="0">
                  <a:solidFill>
                    <a:srgbClr val="4E5139"/>
                  </a:solidFill>
                  <a:latin typeface="Quicksand" panose="020B0604020202020204" charset="0"/>
                </a:rPr>
                <a:t>interest in consulting </a:t>
              </a:r>
              <a:r>
                <a:rPr lang="en-US" sz="1400" dirty="0">
                  <a:solidFill>
                    <a:srgbClr val="4E5139"/>
                  </a:solidFill>
                  <a:latin typeface="Quicksand" panose="020B0604020202020204" charset="0"/>
                </a:rPr>
                <a:t>in rational terms. Focus on problem-solving, exposure, learning, and impact. Avoid emotional language and long narratives</a:t>
              </a:r>
            </a:p>
          </p:txBody>
        </p:sp>
        <p:sp>
          <p:nvSpPr>
            <p:cNvPr id="8" name="Rectangle 7">
              <a:extLst>
                <a:ext uri="{FF2B5EF4-FFF2-40B4-BE49-F238E27FC236}">
                  <a16:creationId xmlns:a16="http://schemas.microsoft.com/office/drawing/2014/main" id="{A3B62A1F-BB53-E22C-FA13-3EAA73BFDA6F}"/>
                </a:ext>
              </a:extLst>
            </p:cNvPr>
            <p:cNvSpPr/>
            <p:nvPr/>
          </p:nvSpPr>
          <p:spPr>
            <a:xfrm>
              <a:off x="4926842" y="3096322"/>
              <a:ext cx="6714698" cy="1215497"/>
            </a:xfrm>
            <a:prstGeom prst="rect">
              <a:avLst/>
            </a:prstGeom>
            <a:solidFill>
              <a:srgbClr val="F9F2D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rgbClr val="4E5139"/>
                  </a:solidFill>
                  <a:latin typeface="Quicksand" panose="020B0604020202020204" charset="0"/>
                </a:rPr>
                <a:t>The second paragraph </a:t>
              </a:r>
              <a:r>
                <a:rPr lang="en-US" sz="1400" b="1" dirty="0">
                  <a:solidFill>
                    <a:srgbClr val="4E5139"/>
                  </a:solidFill>
                  <a:latin typeface="Quicksand" panose="020B0604020202020204" charset="0"/>
                </a:rPr>
                <a:t>connects your experience to consulting skills</a:t>
              </a:r>
              <a:r>
                <a:rPr lang="en-US" sz="1400" dirty="0">
                  <a:solidFill>
                    <a:srgbClr val="4E5139"/>
                  </a:solidFill>
                  <a:latin typeface="Quicksand" panose="020B0604020202020204" charset="0"/>
                </a:rPr>
                <a:t>. This is where you demonstrate that you understand what the job requires and that you have already practiced those skills in different contexts</a:t>
              </a:r>
            </a:p>
          </p:txBody>
        </p:sp>
        <p:sp>
          <p:nvSpPr>
            <p:cNvPr id="9" name="Rectangle 8">
              <a:extLst>
                <a:ext uri="{FF2B5EF4-FFF2-40B4-BE49-F238E27FC236}">
                  <a16:creationId xmlns:a16="http://schemas.microsoft.com/office/drawing/2014/main" id="{147342A7-16CF-C76E-3B8F-D279C188067F}"/>
                </a:ext>
              </a:extLst>
            </p:cNvPr>
            <p:cNvSpPr/>
            <p:nvPr/>
          </p:nvSpPr>
          <p:spPr>
            <a:xfrm>
              <a:off x="4926842" y="4630544"/>
              <a:ext cx="6714698" cy="1215497"/>
            </a:xfrm>
            <a:prstGeom prst="rect">
              <a:avLst/>
            </a:prstGeom>
            <a:solidFill>
              <a:srgbClr val="F9F2D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rgbClr val="4E5139"/>
                  </a:solidFill>
                  <a:latin typeface="Quicksand" panose="020B0604020202020204" charset="0"/>
                </a:rPr>
                <a:t>The final paragraph shows </a:t>
              </a:r>
              <a:r>
                <a:rPr lang="en-US" sz="1400" b="1" dirty="0">
                  <a:solidFill>
                    <a:srgbClr val="4E5139"/>
                  </a:solidFill>
                  <a:latin typeface="Quicksand" panose="020B0604020202020204" charset="0"/>
                </a:rPr>
                <a:t>that you did your homework</a:t>
              </a:r>
              <a:r>
                <a:rPr lang="en-US" sz="1400" dirty="0">
                  <a:solidFill>
                    <a:srgbClr val="4E5139"/>
                  </a:solidFill>
                  <a:latin typeface="Quicksand" panose="020B0604020202020204" charset="0"/>
                </a:rPr>
                <a:t>. Refer to the firm’s positioning, practice strengths, or culture in a specific way. Generic statements signal a generic application</a:t>
              </a:r>
            </a:p>
          </p:txBody>
        </p:sp>
      </p:grpSp>
      <p:sp>
        <p:nvSpPr>
          <p:cNvPr id="13" name="Rectangle: Rounded Corners 12">
            <a:extLst>
              <a:ext uri="{FF2B5EF4-FFF2-40B4-BE49-F238E27FC236}">
                <a16:creationId xmlns:a16="http://schemas.microsoft.com/office/drawing/2014/main" id="{81E1869C-52AD-FD2B-0EA9-C041067ADDF8}"/>
              </a:ext>
            </a:extLst>
          </p:cNvPr>
          <p:cNvSpPr/>
          <p:nvPr/>
        </p:nvSpPr>
        <p:spPr>
          <a:xfrm>
            <a:off x="725241" y="5566014"/>
            <a:ext cx="10916299" cy="619995"/>
          </a:xfrm>
          <a:prstGeom prst="roundRect">
            <a:avLst/>
          </a:prstGeom>
          <a:noFill/>
          <a:ln w="3175">
            <a:solidFill>
              <a:srgbClr val="4E51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1" dirty="0">
                <a:solidFill>
                  <a:schemeClr val="tx1"/>
                </a:solidFill>
                <a:latin typeface="Quicksand" panose="020B0604020202020204" charset="0"/>
              </a:rPr>
              <a:t>A consulting cover letter should be one page, three short paragraphs, and easy to scan</a:t>
            </a:r>
          </a:p>
        </p:txBody>
      </p:sp>
    </p:spTree>
    <p:extLst>
      <p:ext uri="{BB962C8B-B14F-4D97-AF65-F5344CB8AC3E}">
        <p14:creationId xmlns:p14="http://schemas.microsoft.com/office/powerpoint/2010/main" val="2021157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3D295-6ECE-11FE-97C9-9F618C11F32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6E13F2-69A9-7EBD-0EC2-E3C1FCA08745}"/>
              </a:ext>
            </a:extLst>
          </p:cNvPr>
          <p:cNvGraphicFramePr>
            <a:graphicFrameLocks noChangeAspect="1"/>
          </p:cNvGraphicFramePr>
          <p:nvPr>
            <p:custDataLst>
              <p:tags r:id="rId1"/>
            </p:custDataLst>
            <p:extLst>
              <p:ext uri="{D42A27DB-BD31-4B8C-83A1-F6EECF244321}">
                <p14:modId xmlns:p14="http://schemas.microsoft.com/office/powerpoint/2010/main" val="27020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AF6E13F2-69A9-7EBD-0EC2-E3C1FCA08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7FC60-A05C-1AB5-A9A6-E8798B3C934E}"/>
              </a:ext>
            </a:extLst>
          </p:cNvPr>
          <p:cNvSpPr>
            <a:spLocks noGrp="1"/>
          </p:cNvSpPr>
          <p:nvPr>
            <p:ph type="title"/>
          </p:nvPr>
        </p:nvSpPr>
        <p:spPr/>
        <p:txBody>
          <a:bodyPr vert="horz"/>
          <a:lstStyle/>
          <a:p>
            <a:r>
              <a:rPr lang="en-US" dirty="0"/>
              <a:t>Final Notes</a:t>
            </a:r>
            <a:endParaRPr lang="en-US" b="0" dirty="0"/>
          </a:p>
        </p:txBody>
      </p:sp>
      <p:sp>
        <p:nvSpPr>
          <p:cNvPr id="11" name="Rectangle 10">
            <a:extLst>
              <a:ext uri="{FF2B5EF4-FFF2-40B4-BE49-F238E27FC236}">
                <a16:creationId xmlns:a16="http://schemas.microsoft.com/office/drawing/2014/main" id="{AE951079-2971-BD5E-DE88-BBD053F83CC9}"/>
              </a:ext>
            </a:extLst>
          </p:cNvPr>
          <p:cNvSpPr/>
          <p:nvPr/>
        </p:nvSpPr>
        <p:spPr>
          <a:xfrm>
            <a:off x="725240" y="1562100"/>
            <a:ext cx="10800293" cy="4674358"/>
          </a:xfrm>
          <a:prstGeom prst="rect">
            <a:avLst/>
          </a:prstGeom>
          <a:solidFill>
            <a:srgbClr val="F9F2D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4E5139"/>
                </a:solidFill>
                <a:latin typeface="Quicksand" panose="020B0604020202020204" charset="0"/>
              </a:rPr>
              <a:t>Resume and Cover Letter do not get you the offer. </a:t>
            </a:r>
          </a:p>
          <a:p>
            <a:endParaRPr lang="en-US" b="1" dirty="0">
              <a:solidFill>
                <a:srgbClr val="4E5139"/>
              </a:solidFill>
              <a:latin typeface="Quicksand" panose="020B0604020202020204" charset="0"/>
            </a:endParaRPr>
          </a:p>
          <a:p>
            <a:r>
              <a:rPr lang="en-US" dirty="0">
                <a:solidFill>
                  <a:srgbClr val="4E5139"/>
                </a:solidFill>
                <a:latin typeface="Quicksand" panose="020B0604020202020204" charset="0"/>
              </a:rPr>
              <a:t>They earn you the right to interview.</a:t>
            </a:r>
          </a:p>
          <a:p>
            <a:endParaRPr lang="en-US" dirty="0">
              <a:solidFill>
                <a:srgbClr val="4E5139"/>
              </a:solidFill>
              <a:latin typeface="Quicksand" panose="020B0604020202020204" charset="0"/>
            </a:endParaRPr>
          </a:p>
          <a:p>
            <a:r>
              <a:rPr lang="en-US" dirty="0">
                <a:solidFill>
                  <a:srgbClr val="4E5139"/>
                </a:solidFill>
                <a:latin typeface="Quicksand" panose="020B0604020202020204" charset="0"/>
              </a:rPr>
              <a:t>What happens next depends entirely on preparation, practice, and performance.</a:t>
            </a:r>
          </a:p>
          <a:p>
            <a:endParaRPr lang="en-US" dirty="0">
              <a:solidFill>
                <a:srgbClr val="4E5139"/>
              </a:solidFill>
              <a:latin typeface="Quicksand" panose="020B0604020202020204" charset="0"/>
            </a:endParaRPr>
          </a:p>
          <a:p>
            <a:pPr algn="ctr"/>
            <a:endParaRPr lang="en-US" sz="2800" b="1" dirty="0">
              <a:solidFill>
                <a:srgbClr val="4E5139"/>
              </a:solidFill>
              <a:latin typeface="Quicksand" panose="020B0604020202020204" charset="0"/>
            </a:endParaRPr>
          </a:p>
          <a:p>
            <a:pPr algn="ctr"/>
            <a:r>
              <a:rPr lang="en-US" sz="2000" b="1" dirty="0">
                <a:solidFill>
                  <a:srgbClr val="4E5139"/>
                </a:solidFill>
                <a:latin typeface="Quicksand" panose="020B0604020202020204" charset="0"/>
              </a:rPr>
              <a:t>No document will ever compensate for lack of practice, but the right document ensures you get the chance to prove yourself.</a:t>
            </a:r>
          </a:p>
        </p:txBody>
      </p:sp>
    </p:spTree>
    <p:extLst>
      <p:ext uri="{BB962C8B-B14F-4D97-AF65-F5344CB8AC3E}">
        <p14:creationId xmlns:p14="http://schemas.microsoft.com/office/powerpoint/2010/main" val="2022425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0</TotalTime>
  <Words>971</Words>
  <Application>Microsoft Office PowerPoint</Application>
  <PresentationFormat>Widescreen</PresentationFormat>
  <Paragraphs>85</Paragraphs>
  <Slides>10</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Canela Black Trial</vt:lpstr>
      <vt:lpstr>Quicksand</vt:lpstr>
      <vt:lpstr>Aptos</vt:lpstr>
      <vt:lpstr>Aptos Display</vt:lpstr>
      <vt:lpstr>Arial</vt:lpstr>
      <vt:lpstr>Wingdings</vt:lpstr>
      <vt:lpstr>Custom Design</vt:lpstr>
      <vt:lpstr>1_Custom Design</vt:lpstr>
      <vt:lpstr>think-cell Slide</vt:lpstr>
      <vt:lpstr>PowerPoint Presentation</vt:lpstr>
      <vt:lpstr>Content</vt:lpstr>
      <vt:lpstr>01 – Consulting Resume: Introduction</vt:lpstr>
      <vt:lpstr>01 – Consulting Resume: One page of Judgment</vt:lpstr>
      <vt:lpstr>01 – Consulting Resume: One page of Judgment</vt:lpstr>
      <vt:lpstr>01 – Consulting Resume: Quick Tips</vt:lpstr>
      <vt:lpstr>02 – Consulting Cover Letter: Introduction</vt:lpstr>
      <vt:lpstr>02 – Consulting Cover Letter: Components</vt:lpstr>
      <vt:lpstr>Final Not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SMAN LAYLA</dc:creator>
  <cp:lastModifiedBy>Tespina Youssef</cp:lastModifiedBy>
  <cp:revision>6</cp:revision>
  <dcterms:created xsi:type="dcterms:W3CDTF">2026-01-06T23:00:59Z</dcterms:created>
  <dcterms:modified xsi:type="dcterms:W3CDTF">2026-01-14T05:28:59Z</dcterms:modified>
</cp:coreProperties>
</file>